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5" r:id="rId3"/>
    <p:sldMasterId id="2147483704" r:id="rId4"/>
  </p:sldMasterIdLst>
  <p:notesMasterIdLst>
    <p:notesMasterId r:id="rId10"/>
  </p:notesMasterIdLst>
  <p:sldIdLst>
    <p:sldId id="283" r:id="rId5"/>
    <p:sldId id="2007578866" r:id="rId6"/>
    <p:sldId id="2007578867" r:id="rId7"/>
    <p:sldId id="2007578869" r:id="rId8"/>
    <p:sldId id="2007578885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0F254966-6FB0-6C40-8231-4938C054E02D}">
          <p14:sldIdLst>
            <p14:sldId id="283"/>
          </p14:sldIdLst>
        </p14:section>
        <p14:section name="Building blocks and approach" id="{649027DB-D490-F949-B6A6-903B889C00DD}">
          <p14:sldIdLst>
            <p14:sldId id="2007578866"/>
            <p14:sldId id="2007578867"/>
            <p14:sldId id="2007578869"/>
            <p14:sldId id="200757888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55" userDrawn="1">
          <p15:clr>
            <a:srgbClr val="A4A3A4"/>
          </p15:clr>
        </p15:guide>
        <p15:guide id="2" pos="2683" userDrawn="1">
          <p15:clr>
            <a:srgbClr val="A4A3A4"/>
          </p15:clr>
        </p15:guide>
        <p15:guide id="3" pos="7446" userDrawn="1">
          <p15:clr>
            <a:srgbClr val="A4A3A4"/>
          </p15:clr>
        </p15:guide>
        <p15:guide id="4" pos="5201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pos="6289" userDrawn="1">
          <p15:clr>
            <a:srgbClr val="A4A3A4"/>
          </p15:clr>
        </p15:guide>
        <p15:guide id="7" orient="horz" pos="4065" userDrawn="1">
          <p15:clr>
            <a:srgbClr val="A4A3A4"/>
          </p15:clr>
        </p15:guide>
        <p15:guide id="8" pos="234" userDrawn="1">
          <p15:clr>
            <a:srgbClr val="A4A3A4"/>
          </p15:clr>
        </p15:guide>
        <p15:guide id="9" pos="1481" userDrawn="1">
          <p15:clr>
            <a:srgbClr val="A4A3A4"/>
          </p15:clr>
        </p15:guide>
        <p15:guide id="10" pos="19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4300"/>
    <a:srgbClr val="A6A6A6"/>
    <a:srgbClr val="C00000"/>
    <a:srgbClr val="00B050"/>
    <a:srgbClr val="FC8F25"/>
    <a:srgbClr val="FF6011"/>
    <a:srgbClr val="FFC000"/>
    <a:srgbClr val="D9D9D9"/>
    <a:srgbClr val="FBEFEF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6819" autoAdjust="0"/>
    <p:restoredTop sz="88639" autoAdjust="0"/>
  </p:normalViewPr>
  <p:slideViewPr>
    <p:cSldViewPr snapToGrid="0">
      <p:cViewPr varScale="1">
        <p:scale>
          <a:sx n="86" d="100"/>
          <a:sy n="86" d="100"/>
        </p:scale>
        <p:origin x="216" y="768"/>
      </p:cViewPr>
      <p:guideLst>
        <p:guide orient="horz" pos="255"/>
        <p:guide pos="2683"/>
        <p:guide pos="7446"/>
        <p:guide pos="5201"/>
        <p:guide pos="7333"/>
        <p:guide pos="6289"/>
        <p:guide orient="horz" pos="4065"/>
        <p:guide pos="234"/>
        <p:guide pos="1481"/>
        <p:guide pos="1980"/>
      </p:guideLst>
    </p:cSldViewPr>
  </p:slideViewPr>
  <p:notesTextViewPr>
    <p:cViewPr>
      <p:scale>
        <a:sx n="65" d="100"/>
        <a:sy n="6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7A1566-57C4-4979-AB99-F04D1AD3A697}" type="datetimeFigureOut">
              <a:rPr lang="en-US" smtClean="0"/>
              <a:t>12/1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C3C3A7-D1BE-40DB-B524-41A2590864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5408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A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3C3A7-D1BE-40DB-B524-41A25908642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67856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A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3C3A7-D1BE-40DB-B524-41A25908642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5744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A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3C3A7-D1BE-40DB-B524-41A25908642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7861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A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3C3A7-D1BE-40DB-B524-41A25908642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4773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A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3C3A7-D1BE-40DB-B524-41A25908642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73540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3.jp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8.wmf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1.jp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8.wmf"/><Relationship Id="rId2" Type="http://schemas.openxmlformats.org/officeDocument/2006/relationships/tags" Target="../tags/tag5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9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0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1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4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5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8.wmf"/><Relationship Id="rId2" Type="http://schemas.openxmlformats.org/officeDocument/2006/relationships/tags" Target="../tags/tag7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8.wmf"/><Relationship Id="rId2" Type="http://schemas.openxmlformats.org/officeDocument/2006/relationships/tags" Target="../tags/tag7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wmf"/><Relationship Id="rId3" Type="http://schemas.openxmlformats.org/officeDocument/2006/relationships/tags" Target="../tags/tag83.xml"/><Relationship Id="rId7" Type="http://schemas.openxmlformats.org/officeDocument/2006/relationships/image" Target="../media/image13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image" Target="../media/image14.jpg"/><Relationship Id="rId2" Type="http://schemas.openxmlformats.org/officeDocument/2006/relationships/tags" Target="../tags/tag103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40C1C-E499-4EE9-8945-B7F776F886FF}" type="datetimeFigureOut">
              <a:rPr lang="en-US" smtClean="0"/>
              <a:t>12/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EC6CD-E9F6-467B-9C1C-A14B91179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65777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40C1C-E499-4EE9-8945-B7F776F886FF}" type="datetimeFigureOut">
              <a:rPr lang="en-US" smtClean="0"/>
              <a:t>12/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EC6CD-E9F6-467B-9C1C-A14B91179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17708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40C1C-E499-4EE9-8945-B7F776F886FF}" type="datetimeFigureOut">
              <a:rPr lang="en-US" smtClean="0"/>
              <a:t>12/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EC6CD-E9F6-467B-9C1C-A14B91179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9280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3"/>
          <a:ext cx="2159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30AD6CB-2910-4F17-A828-CF26B1B7470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65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7821E0-F619-4EFA-8A6E-FC877B6601AF}"/>
              </a:ext>
            </a:extLst>
          </p:cNvPr>
          <p:cNvPicPr>
            <a:picLocks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" b="4"/>
          <a:stretch/>
        </p:blipFill>
        <p:spPr bwMode="ltGray">
          <a:xfrm>
            <a:off x="730" y="1"/>
            <a:ext cx="12191273" cy="6858000"/>
          </a:xfrm>
          <a:prstGeom prst="rect">
            <a:avLst/>
          </a:prstGeom>
          <a:solidFill>
            <a:schemeClr val="accent4"/>
          </a:solidFill>
          <a:effectLst/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1088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7" name="TitleRectangle"/>
          <p:cNvSpPr>
            <a:spLocks/>
          </p:cNvSpPr>
          <p:nvPr userDrawn="1"/>
        </p:nvSpPr>
        <p:spPr bwMode="ltGray">
          <a:xfrm>
            <a:off x="2836216" y="-1"/>
            <a:ext cx="9355784" cy="4048478"/>
          </a:xfrm>
          <a:prstGeom prst="rect">
            <a:avLst/>
          </a:prstGeom>
          <a:solidFill>
            <a:schemeClr val="tx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085967" y="1463558"/>
            <a:ext cx="8478152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14" name="LogoImage">
            <a:extLst>
              <a:ext uri="{FF2B5EF4-FFF2-40B4-BE49-F238E27FC236}">
                <a16:creationId xmlns:a16="http://schemas.microsoft.com/office/drawing/2014/main" id="{CF9EF921-9FC5-42B8-99C2-7B63BCC217DA}"/>
              </a:ext>
            </a:extLst>
          </p:cNvPr>
          <p:cNvGrpSpPr/>
          <p:nvPr userDrawn="1"/>
        </p:nvGrpSpPr>
        <p:grpSpPr bwMode="ltGray">
          <a:xfrm>
            <a:off x="3090575" y="263462"/>
            <a:ext cx="1741648" cy="553873"/>
            <a:chOff x="3029003" y="258214"/>
            <a:chExt cx="1706951" cy="542847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377E2CCF-9E6E-4948-A3F9-B6082FE76F38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ltGray">
            <a:xfrm>
              <a:off x="3029003" y="258214"/>
              <a:ext cx="1706951" cy="5428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 sz="1632">
                <a:latin typeface="Theinhardt Pan Light" panose="020B0404020101020102" pitchFamily="34" charset="0"/>
              </a:endParaRPr>
            </a:p>
          </p:txBody>
        </p:sp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4AB1F65-4117-46AA-A186-DB407AF01B39}"/>
                </a:ext>
              </a:extLst>
            </p:cNvPr>
            <p:cNvSpPr>
              <a:spLocks noEditPoints="1"/>
            </p:cNvSpPr>
            <p:nvPr userDrawn="1"/>
          </p:nvSpPr>
          <p:spPr bwMode="ltGray">
            <a:xfrm>
              <a:off x="3029003" y="258443"/>
              <a:ext cx="1706951" cy="542618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 sz="1632">
                <a:latin typeface="Theinhardt Pan Light" panose="020B0404020101020102" pitchFamily="34" charset="0"/>
              </a:endParaRPr>
            </a:p>
          </p:txBody>
        </p:sp>
      </p:grpSp>
      <p:pic>
        <p:nvPicPr>
          <p:cNvPr id="19" name="Graphic 18">
            <a:extLst>
              <a:ext uri="{FF2B5EF4-FFF2-40B4-BE49-F238E27FC236}">
                <a16:creationId xmlns:a16="http://schemas.microsoft.com/office/drawing/2014/main" id="{C4B202EB-7428-45BA-ABD8-F3396FC02F00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3085969" y="3403472"/>
            <a:ext cx="1836819" cy="430852"/>
          </a:xfrm>
          <a:prstGeom prst="rect">
            <a:avLst/>
          </a:prstGeom>
        </p:spPr>
      </p:pic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074975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noProof="0" dirty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085967" y="2412819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053522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5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3" y="1625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 lang="x-none"/>
            </a:pPr>
            <a:endParaRPr lang="x-none" sz="1110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83575" y="541314"/>
            <a:ext cx="36189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33" b="1" baseline="0" noProof="0" dirty="0">
                <a:solidFill>
                  <a:schemeClr val="tx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83577" y="666925"/>
            <a:ext cx="36189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833" baseline="0" noProof="0">
                <a:solidFill>
                  <a:schemeClr val="tx1"/>
                </a:solidFill>
                <a:latin typeface="+mn-lt"/>
              </a:rPr>
              <a:t>Last Modified 28.01.2020 13:17 Azerbaijan Standard Time</a:t>
            </a:r>
            <a:endParaRPr lang="x-none" sz="833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83575" y="792538"/>
            <a:ext cx="3618996" cy="1307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33" baseline="0" noProof="0" dirty="0">
                <a:solidFill>
                  <a:schemeClr val="tx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883573" y="1507463"/>
            <a:ext cx="8478152" cy="502445"/>
          </a:xfrm>
          <a:prstGeom prst="rect">
            <a:avLst/>
          </a:prstGeom>
        </p:spPr>
        <p:txBody>
          <a:bodyPr/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883573" y="3382086"/>
            <a:ext cx="8478152" cy="2512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632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883573" y="4937643"/>
            <a:ext cx="8478152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1632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0458345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9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5" y="51838"/>
            <a:ext cx="1231563" cy="980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42752"/>
            <a:endParaRPr lang="x-none" sz="624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54783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7">
          <p15:clr>
            <a:srgbClr val="F26B43"/>
          </p15:clr>
        </p15:guide>
        <p15:guide id="4" orient="horz" pos="3912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D9FB04-F6E0-48DD-A4F2-E98E5B564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57A350-F1C0-4313-A915-2109EA5C9E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46759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6FB904-095B-4EC2-803B-5EFB298C6E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6FB904-095B-4EC2-803B-5EFB298C6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4D9504D-1A39-4CF1-A1C5-CD1206606A1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99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"/>
          <p:cNvSpPr>
            <a:spLocks noChangeAspect="1"/>
          </p:cNvSpPr>
          <p:nvPr userDrawn="1"/>
        </p:nvSpPr>
        <p:spPr>
          <a:xfrm>
            <a:off x="3851957" y="615950"/>
            <a:ext cx="7731797" cy="3575304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  <a:gd name="connsiteX0" fmla="*/ 3182 w 6753225"/>
              <a:gd name="connsiteY0" fmla="*/ 1312615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3182 w 6753225"/>
              <a:gd name="connsiteY4" fmla="*/ 1312615 h 3400425"/>
              <a:gd name="connsiteX0" fmla="*/ 3182 w 6753225"/>
              <a:gd name="connsiteY0" fmla="*/ 67426 h 2155236"/>
              <a:gd name="connsiteX1" fmla="*/ 6619689 w 6753225"/>
              <a:gd name="connsiteY1" fmla="*/ 0 h 2155236"/>
              <a:gd name="connsiteX2" fmla="*/ 6753225 w 6753225"/>
              <a:gd name="connsiteY2" fmla="*/ 2155236 h 2155236"/>
              <a:gd name="connsiteX3" fmla="*/ 0 w 6753225"/>
              <a:gd name="connsiteY3" fmla="*/ 2155236 h 2155236"/>
              <a:gd name="connsiteX4" fmla="*/ 3182 w 6753225"/>
              <a:gd name="connsiteY4" fmla="*/ 67426 h 2155236"/>
              <a:gd name="connsiteX0" fmla="*/ 3182 w 6769917"/>
              <a:gd name="connsiteY0" fmla="*/ 1306570 h 3394380"/>
              <a:gd name="connsiteX1" fmla="*/ 6769917 w 6769917"/>
              <a:gd name="connsiteY1" fmla="*/ 0 h 3394380"/>
              <a:gd name="connsiteX2" fmla="*/ 6753225 w 6769917"/>
              <a:gd name="connsiteY2" fmla="*/ 3394380 h 3394380"/>
              <a:gd name="connsiteX3" fmla="*/ 0 w 6769917"/>
              <a:gd name="connsiteY3" fmla="*/ 3394380 h 3394380"/>
              <a:gd name="connsiteX4" fmla="*/ 3182 w 6769917"/>
              <a:gd name="connsiteY4" fmla="*/ 1306570 h 3394380"/>
              <a:gd name="connsiteX0" fmla="*/ 223 w 6771131"/>
              <a:gd name="connsiteY0" fmla="*/ 1297504 h 3394380"/>
              <a:gd name="connsiteX1" fmla="*/ 6771131 w 6771131"/>
              <a:gd name="connsiteY1" fmla="*/ 0 h 3394380"/>
              <a:gd name="connsiteX2" fmla="*/ 6754439 w 6771131"/>
              <a:gd name="connsiteY2" fmla="*/ 3394380 h 3394380"/>
              <a:gd name="connsiteX3" fmla="*/ 1214 w 6771131"/>
              <a:gd name="connsiteY3" fmla="*/ 3394380 h 3394380"/>
              <a:gd name="connsiteX4" fmla="*/ 223 w 6771131"/>
              <a:gd name="connsiteY4" fmla="*/ 1297504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58493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69621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75185" h="3394380">
                <a:moveTo>
                  <a:pt x="105" y="1297505"/>
                </a:moveTo>
                <a:lnTo>
                  <a:pt x="6775185" y="0"/>
                </a:lnTo>
                <a:cubicBezTo>
                  <a:pt x="6773330" y="1131460"/>
                  <a:pt x="6771476" y="2262920"/>
                  <a:pt x="6769621" y="3394380"/>
                </a:cubicBezTo>
                <a:lnTo>
                  <a:pt x="5268" y="3394380"/>
                </a:lnTo>
                <a:cubicBezTo>
                  <a:pt x="6329" y="2698443"/>
                  <a:pt x="-956" y="1993442"/>
                  <a:pt x="105" y="129750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4149215" y="2240280"/>
            <a:ext cx="722000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149215" y="3218688"/>
            <a:ext cx="7220000" cy="645742"/>
          </a:xfrm>
        </p:spPr>
        <p:txBody>
          <a:bodyPr/>
          <a:lstStyle>
            <a:lvl1pPr marL="0" indent="0" algn="l">
              <a:buNone/>
              <a:defRPr sz="1999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168" y="5339038"/>
            <a:ext cx="98703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7183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E68472-A3CE-4EAD-8B59-100888DCFE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E68472-A3CE-4EAD-8B59-100888DCFE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7156697-1144-4C33-9692-90F3A15559A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99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425600"/>
            <a:ext cx="10972800" cy="47000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44918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BD4331A-AE89-4415-B95B-61F4A2F721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BD4331A-AE89-4415-B95B-61F4A2F721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20E1B30-61F5-42FB-992D-BABD74F5BBA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99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30120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9FF9AA-9C97-4E25-BC80-618AF0DF76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2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39FF9AA-9C97-4E25-BC80-618AF0DF76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2AA7313-9480-47B2-9B81-53BD9FDD37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99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indent="0">
              <a:buNone/>
              <a:defRPr/>
            </a:lvl1pPr>
            <a:lvl2pPr marL="356438">
              <a:defRPr/>
            </a:lvl2pPr>
            <a:lvl3pPr marL="712875">
              <a:defRPr/>
            </a:lvl3pPr>
            <a:lvl4pPr marL="1069313">
              <a:defRPr/>
            </a:lvl4pPr>
            <a:lvl5pPr marL="1425751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3958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40C1C-E499-4EE9-8945-B7F776F886FF}" type="datetimeFigureOut">
              <a:rPr lang="en-US" smtClean="0"/>
              <a:t>12/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EC6CD-E9F6-467B-9C1C-A14B91179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1497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F43FF4-112C-42F4-96DF-F1DDB8C6DC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4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F43FF4-112C-42F4-96DF-F1DDB8C6DC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4620BEF-2E81-48BC-98DF-A7615DA5FF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99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03160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54C696-614F-4DCA-8654-BED0F308CB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7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54C696-614F-4DCA-8654-BED0F308C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948B99C-DE02-41FE-8A34-158AA94E11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99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9854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3EDB27-3293-4373-80BC-EE478E4B75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9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3EDB27-3293-4373-80BC-EE478E4B75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1DF8CD7-D310-4FB1-8BEE-5416A3E05EC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99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600" y="1425576"/>
            <a:ext cx="5384800" cy="4700589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  <a:lvl2pPr>
              <a:defRPr sz="2399">
                <a:solidFill>
                  <a:schemeClr val="bg1"/>
                </a:solidFill>
              </a:defRPr>
            </a:lvl2pPr>
            <a:lvl3pPr>
              <a:defRPr sz="1999">
                <a:solidFill>
                  <a:schemeClr val="bg1"/>
                </a:solidFill>
              </a:defRPr>
            </a:lvl3pPr>
            <a:lvl4pPr>
              <a:defRPr sz="1799">
                <a:solidFill>
                  <a:schemeClr val="bg1"/>
                </a:solidFill>
              </a:defRPr>
            </a:lvl4pPr>
            <a:lvl5pPr>
              <a:defRPr sz="17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97601" y="1425576"/>
            <a:ext cx="5384800" cy="4700589"/>
          </a:xfrm>
        </p:spPr>
        <p:txBody>
          <a:bodyPr/>
          <a:lstStyle>
            <a:lvl1pPr marL="356438" indent="-356438" algn="l" defTabSz="913943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23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23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19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17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2188" indent="-356438" algn="l" defTabSz="913943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GB" sz="1799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84991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A1D9C34-6771-49F8-8EB0-193399C1F7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1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A1D9C34-6771-49F8-8EB0-193399C1F7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6B3C944-7ED9-4472-AA3C-EC4B1545A3A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99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12329" y="2130551"/>
            <a:ext cx="5390400" cy="3995928"/>
          </a:xfrm>
        </p:spPr>
        <p:txBody>
          <a:bodyPr/>
          <a:lstStyle>
            <a:lvl1pPr>
              <a:defRPr sz="2399"/>
            </a:lvl1pPr>
            <a:lvl2pPr>
              <a:defRPr sz="2399"/>
            </a:lvl2pPr>
            <a:lvl3pPr marL="1080547" indent="-357009">
              <a:defRPr sz="1999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96405" y="2130551"/>
            <a:ext cx="5390400" cy="3995928"/>
          </a:xfrm>
        </p:spPr>
        <p:txBody>
          <a:bodyPr/>
          <a:lstStyle>
            <a:lvl1pPr>
              <a:defRPr sz="2399"/>
            </a:lvl1pPr>
            <a:lvl2pPr>
              <a:defRPr sz="2399"/>
            </a:lvl2pPr>
            <a:lvl3pPr>
              <a:defRPr sz="1999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12329" y="1427144"/>
            <a:ext cx="5390400" cy="640800"/>
          </a:xfrm>
        </p:spPr>
        <p:txBody>
          <a:bodyPr anchor="t" anchorCtr="0"/>
          <a:lstStyle>
            <a:lvl1pPr>
              <a:buNone/>
              <a:defRPr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196405" y="1427144"/>
            <a:ext cx="5390400" cy="640800"/>
          </a:xfrm>
        </p:spPr>
        <p:txBody>
          <a:bodyPr anchor="t" anchorCtr="0"/>
          <a:lstStyle>
            <a:lvl1pPr>
              <a:buNone/>
              <a:defRPr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8353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FFCDF23-524B-43AC-A001-5C3A5DCE0C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4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FFCDF23-524B-43AC-A001-5C3A5DCE0C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07486" y="1025527"/>
            <a:ext cx="1097280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4998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02855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10E0A4-2C8A-44B8-A689-20488308E9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10E0A4-2C8A-44B8-A689-20488308E9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DEDED1-EC03-4609-99E7-B7EE642E210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99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601" y="201168"/>
            <a:ext cx="109728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4102" name="Freeform 6"/>
          <p:cNvSpPr>
            <a:spLocks/>
          </p:cNvSpPr>
          <p:nvPr userDrawn="1"/>
        </p:nvSpPr>
        <p:spPr bwMode="gray">
          <a:xfrm>
            <a:off x="598177" y="1057275"/>
            <a:ext cx="10987714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US" sz="1799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244435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8EC9AA-F3FC-4A76-9777-AC7DB1B5E1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8EC9AA-F3FC-4A76-9777-AC7DB1B5E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5A33F2-A7B0-4904-AE38-7AA5F8BF45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99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601" y="201168"/>
            <a:ext cx="109728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7" name="Freeform 6"/>
          <p:cNvSpPr>
            <a:spLocks/>
          </p:cNvSpPr>
          <p:nvPr userDrawn="1"/>
        </p:nvSpPr>
        <p:spPr bwMode="gray">
          <a:xfrm>
            <a:off x="598177" y="1057275"/>
            <a:ext cx="10987714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US" sz="1799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7357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DA65F20-7ADF-4D27-B537-A5E24A9595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1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DA65F20-7ADF-4D27-B537-A5E24A9595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607484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799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6769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5B39C45-C3BA-41CD-8139-043C3F8080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5B39C45-C3BA-41CD-8139-043C3F8080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69075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28440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40C1C-E499-4EE9-8945-B7F776F886FF}" type="datetimeFigureOut">
              <a:rPr lang="en-US" smtClean="0"/>
              <a:t>12/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EC6CD-E9F6-467B-9C1C-A14B91179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6946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6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999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1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1" y="201600"/>
            <a:ext cx="10977033" cy="8604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23723" y="6496184"/>
            <a:ext cx="1584960" cy="20116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451201" y="6496184"/>
            <a:ext cx="4579200" cy="20116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57848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999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494739" y="6519672"/>
            <a:ext cx="1370886" cy="20116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51201" y="6519672"/>
            <a:ext cx="4579200" cy="20116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47398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1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07486" y="1025527"/>
            <a:ext cx="1097280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4998" b="1">
                <a:solidFill>
                  <a:schemeClr val="bg2"/>
                </a:solidFill>
                <a:latin typeface="+mn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>
          <a:xfrm>
            <a:off x="1494739" y="6519672"/>
            <a:ext cx="1370886" cy="20116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>
          <a:xfrm>
            <a:off x="3451201" y="6519672"/>
            <a:ext cx="4579200" cy="20116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2601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607484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494739" y="6519672"/>
            <a:ext cx="1370886" cy="20116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51201" y="6519672"/>
            <a:ext cx="4579200" cy="20116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9530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48B75B4F-C13E-4124-A2A9-0B8CC60576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82" b="935"/>
          <a:stretch/>
        </p:blipFill>
        <p:spPr>
          <a:xfrm>
            <a:off x="-1" y="-1"/>
            <a:ext cx="12636347" cy="7028761"/>
          </a:xfrm>
          <a:prstGeom prst="rect">
            <a:avLst/>
          </a:prstGeom>
        </p:spPr>
      </p:pic>
      <p:sp>
        <p:nvSpPr>
          <p:cNvPr id="11" name="Freeform 6">
            <a:extLst>
              <a:ext uri="{FF2B5EF4-FFF2-40B4-BE49-F238E27FC236}">
                <a16:creationId xmlns:a16="http://schemas.microsoft.com/office/drawing/2014/main" id="{4089B8C1-BCFC-4FA3-816D-290A84DBB113}"/>
              </a:ext>
            </a:extLst>
          </p:cNvPr>
          <p:cNvSpPr>
            <a:spLocks/>
          </p:cNvSpPr>
          <p:nvPr userDrawn="1"/>
        </p:nvSpPr>
        <p:spPr bwMode="auto">
          <a:xfrm>
            <a:off x="387411" y="484963"/>
            <a:ext cx="5163157" cy="3700118"/>
          </a:xfrm>
          <a:custGeom>
            <a:avLst/>
            <a:gdLst>
              <a:gd name="T0" fmla="*/ 0 w 3128"/>
              <a:gd name="T1" fmla="*/ 552 h 2114"/>
              <a:gd name="T2" fmla="*/ 0 w 3128"/>
              <a:gd name="T3" fmla="*/ 2114 h 2114"/>
              <a:gd name="T4" fmla="*/ 3128 w 3128"/>
              <a:gd name="T5" fmla="*/ 2114 h 2114"/>
              <a:gd name="T6" fmla="*/ 3128 w 3128"/>
              <a:gd name="T7" fmla="*/ 0 h 2114"/>
              <a:gd name="T8" fmla="*/ 0 w 3128"/>
              <a:gd name="T9" fmla="*/ 552 h 2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28" h="2114">
                <a:moveTo>
                  <a:pt x="0" y="552"/>
                </a:moveTo>
                <a:lnTo>
                  <a:pt x="0" y="2114"/>
                </a:lnTo>
                <a:lnTo>
                  <a:pt x="3128" y="2114"/>
                </a:lnTo>
                <a:lnTo>
                  <a:pt x="3128" y="0"/>
                </a:lnTo>
                <a:lnTo>
                  <a:pt x="0" y="552"/>
                </a:lnTo>
                <a:close/>
              </a:path>
            </a:pathLst>
          </a:custGeom>
          <a:solidFill>
            <a:srgbClr val="FFE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US" sz="1213" dirty="0"/>
          </a:p>
        </p:txBody>
      </p:sp>
    </p:spTree>
    <p:extLst>
      <p:ext uri="{BB962C8B-B14F-4D97-AF65-F5344CB8AC3E}">
        <p14:creationId xmlns:p14="http://schemas.microsoft.com/office/powerpoint/2010/main" val="2764475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24" y="1223"/>
          <a:ext cx="1221" cy="12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24" y="1223"/>
                        <a:ext cx="1221" cy="12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18945" y="1046769"/>
            <a:ext cx="1903454" cy="147886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algn="l" eaLnBrk="1">
              <a:lnSpc>
                <a:spcPct val="90000"/>
              </a:lnSpc>
              <a:defRPr sz="2460" b="1">
                <a:solidFill>
                  <a:schemeClr val="bg1"/>
                </a:solidFill>
                <a:latin typeface="+mj-lt"/>
                <a:cs typeface="EYInterstate Ligh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398245"/>
      </p:ext>
    </p:extLst>
  </p:cSld>
  <p:clrMapOvr>
    <a:masterClrMapping/>
  </p:clrMapOvr>
  <p:transition spd="slow">
    <p:push dir="u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198" b="1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10518952" y="5359402"/>
            <a:ext cx="1448794" cy="1358839"/>
            <a:chOff x="11046411" y="5848715"/>
            <a:chExt cx="927568" cy="869523"/>
          </a:xfrm>
        </p:grpSpPr>
        <p:sp>
          <p:nvSpPr>
            <p:cNvPr id="17" name="Oval 16"/>
            <p:cNvSpPr/>
            <p:nvPr userDrawn="1"/>
          </p:nvSpPr>
          <p:spPr>
            <a:xfrm>
              <a:off x="11450444" y="5848715"/>
              <a:ext cx="523535" cy="523535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8" dirty="0">
                <a:solidFill>
                  <a:srgbClr val="000000"/>
                </a:solidFill>
              </a:endParaRPr>
            </a:p>
          </p:txBody>
        </p:sp>
        <p:sp>
          <p:nvSpPr>
            <p:cNvPr id="19" name="Oval 18"/>
            <p:cNvSpPr>
              <a:spLocks noChangeAspect="1"/>
            </p:cNvSpPr>
            <p:nvPr userDrawn="1"/>
          </p:nvSpPr>
          <p:spPr>
            <a:xfrm>
              <a:off x="11046411" y="5993832"/>
              <a:ext cx="724407" cy="724406"/>
            </a:xfrm>
            <a:prstGeom prst="ellipse">
              <a:avLst/>
            </a:prstGeom>
            <a:solidFill>
              <a:srgbClr val="F0F0F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8" dirty="0">
                <a:solidFill>
                  <a:srgbClr val="000000"/>
                </a:solidFill>
              </a:endParaRPr>
            </a:p>
          </p:txBody>
        </p: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48663" y="6142842"/>
              <a:ext cx="363951" cy="426387"/>
            </a:xfrm>
            <a:prstGeom prst="rect">
              <a:avLst/>
            </a:prstGeom>
          </p:spPr>
        </p:pic>
      </p:grpSp>
      <p:cxnSp>
        <p:nvCxnSpPr>
          <p:cNvPr id="21" name="Straight Connector 20"/>
          <p:cNvCxnSpPr/>
          <p:nvPr userDrawn="1"/>
        </p:nvCxnSpPr>
        <p:spPr>
          <a:xfrm>
            <a:off x="1275243" y="2491219"/>
            <a:ext cx="5433170" cy="0"/>
          </a:xfrm>
          <a:prstGeom prst="line">
            <a:avLst/>
          </a:prstGeom>
          <a:ln w="381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lowchart: Manual Input 21"/>
          <p:cNvSpPr>
            <a:spLocks noChangeAspect="1"/>
          </p:cNvSpPr>
          <p:nvPr userDrawn="1"/>
        </p:nvSpPr>
        <p:spPr>
          <a:xfrm rot="16200000" flipV="1">
            <a:off x="1133168" y="1733065"/>
            <a:ext cx="900228" cy="616080"/>
          </a:xfrm>
          <a:prstGeom prst="flowChartManualInput">
            <a:avLst/>
          </a:prstGeom>
          <a:solidFill>
            <a:schemeClr val="accent2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 anchorCtr="0"/>
          <a:lstStyle/>
          <a:p>
            <a:pPr algn="ctr"/>
            <a:endParaRPr lang="en-US" sz="1998" b="1" dirty="0">
              <a:solidFill>
                <a:srgbClr val="FFFFFF"/>
              </a:solidFill>
            </a:endParaRPr>
          </a:p>
        </p:txBody>
      </p:sp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1922310" y="1368240"/>
            <a:ext cx="6083049" cy="95732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vert="horz" lIns="90000" tIns="0" rIns="90000" bIns="36000" rtlCol="0" anchor="ctr" anchorCtr="0">
            <a:noAutofit/>
          </a:bodyPr>
          <a:lstStyle>
            <a:lvl1pPr>
              <a:defRPr sz="3198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2046186" y="2094833"/>
            <a:ext cx="7220000" cy="276999"/>
          </a:xfrm>
        </p:spPr>
        <p:txBody>
          <a:bodyPr>
            <a:spAutoFit/>
          </a:bodyPr>
          <a:lstStyle>
            <a:lvl1pPr marL="0" indent="0">
              <a:buNone/>
              <a:defRPr lang="en-GB" sz="1799" dirty="0">
                <a:solidFill>
                  <a:schemeClr val="tx1"/>
                </a:solidFill>
              </a:defRPr>
            </a:lvl1pPr>
          </a:lstStyle>
          <a:p>
            <a:pPr marL="0" lvl="0"/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706081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3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999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494739" y="6519672"/>
            <a:ext cx="1370886" cy="201168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February 2018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451201" y="6519672"/>
            <a:ext cx="4579200" cy="201168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Agile organization design</a:t>
            </a:r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>
            <a:off x="0" y="6242400"/>
            <a:ext cx="12192000" cy="0"/>
          </a:xfrm>
          <a:prstGeom prst="line">
            <a:avLst/>
          </a:prstGeom>
          <a:noFill/>
          <a:ln w="3175">
            <a:solidFill>
              <a:schemeClr val="accent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57200" y="229119"/>
            <a:ext cx="11277600" cy="6195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937139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5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999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1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1" y="201600"/>
            <a:ext cx="10977033" cy="8604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23723" y="6496184"/>
            <a:ext cx="1584960" cy="20116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451201" y="6496184"/>
            <a:ext cx="4579200" cy="20116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7430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999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494739" y="6519672"/>
            <a:ext cx="1370886" cy="20116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51201" y="6519672"/>
            <a:ext cx="4579200" cy="20116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9862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40C1C-E499-4EE9-8945-B7F776F886FF}" type="datetimeFigureOut">
              <a:rPr lang="en-US" smtClean="0"/>
              <a:t>12/1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EC6CD-E9F6-467B-9C1C-A14B91179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39949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0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07486" y="1025527"/>
            <a:ext cx="1097280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4998" b="1">
                <a:solidFill>
                  <a:schemeClr val="bg2"/>
                </a:solidFill>
                <a:latin typeface="+mn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>
          <a:xfrm>
            <a:off x="1494739" y="6519672"/>
            <a:ext cx="1370886" cy="20116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>
          <a:xfrm>
            <a:off x="3451201" y="6519672"/>
            <a:ext cx="4579200" cy="20116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8225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607484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494739" y="6519672"/>
            <a:ext cx="1370886" cy="20116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51201" y="6519672"/>
            <a:ext cx="4579200" cy="20116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366416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8499410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7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999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1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1" y="201600"/>
            <a:ext cx="10977033" cy="8604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23723" y="6496184"/>
            <a:ext cx="1584960" cy="20116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451201" y="6496184"/>
            <a:ext cx="4579200" cy="20116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8625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0267761-9EC6-453E-8B3C-C7C67C6583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99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494739" y="6519672"/>
            <a:ext cx="1370886" cy="201168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51201" y="6519672"/>
            <a:ext cx="4579200" cy="201168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20474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2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07486" y="1025527"/>
            <a:ext cx="1097280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4998" b="1">
                <a:solidFill>
                  <a:schemeClr val="bg2"/>
                </a:solidFill>
                <a:latin typeface="+mn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>
          <a:xfrm>
            <a:off x="1494739" y="6519672"/>
            <a:ext cx="1370886" cy="201168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>
          <a:xfrm>
            <a:off x="3451201" y="6519672"/>
            <a:ext cx="4579200" cy="201168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21348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607484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494739" y="6519672"/>
            <a:ext cx="1370886" cy="201168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51201" y="6519672"/>
            <a:ext cx="4579200" cy="201168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75660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50CBA7-2C3E-4817-8102-F033D71E1C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198" b="1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10518952" y="5359402"/>
            <a:ext cx="1448794" cy="1358839"/>
            <a:chOff x="11046411" y="5848715"/>
            <a:chExt cx="927568" cy="869523"/>
          </a:xfrm>
        </p:grpSpPr>
        <p:sp>
          <p:nvSpPr>
            <p:cNvPr id="17" name="Oval 16"/>
            <p:cNvSpPr/>
            <p:nvPr userDrawn="1"/>
          </p:nvSpPr>
          <p:spPr>
            <a:xfrm>
              <a:off x="11450444" y="5848715"/>
              <a:ext cx="523535" cy="523535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8" dirty="0">
                <a:solidFill>
                  <a:srgbClr val="000000"/>
                </a:solidFill>
              </a:endParaRPr>
            </a:p>
          </p:txBody>
        </p:sp>
        <p:sp>
          <p:nvSpPr>
            <p:cNvPr id="19" name="Oval 18"/>
            <p:cNvSpPr>
              <a:spLocks noChangeAspect="1"/>
            </p:cNvSpPr>
            <p:nvPr userDrawn="1"/>
          </p:nvSpPr>
          <p:spPr>
            <a:xfrm>
              <a:off x="11046411" y="5993832"/>
              <a:ext cx="724407" cy="724406"/>
            </a:xfrm>
            <a:prstGeom prst="ellipse">
              <a:avLst/>
            </a:prstGeom>
            <a:solidFill>
              <a:srgbClr val="F0F0F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8" dirty="0">
                <a:solidFill>
                  <a:srgbClr val="000000"/>
                </a:solidFill>
              </a:endParaRPr>
            </a:p>
          </p:txBody>
        </p: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48663" y="6142842"/>
              <a:ext cx="363951" cy="426387"/>
            </a:xfrm>
            <a:prstGeom prst="rect">
              <a:avLst/>
            </a:prstGeom>
          </p:spPr>
        </p:pic>
      </p:grpSp>
      <p:cxnSp>
        <p:nvCxnSpPr>
          <p:cNvPr id="21" name="Straight Connector 20"/>
          <p:cNvCxnSpPr/>
          <p:nvPr userDrawn="1"/>
        </p:nvCxnSpPr>
        <p:spPr>
          <a:xfrm>
            <a:off x="406120" y="3638700"/>
            <a:ext cx="5433170" cy="0"/>
          </a:xfrm>
          <a:prstGeom prst="line">
            <a:avLst/>
          </a:prstGeom>
          <a:ln w="381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lowchart: Manual Input 21"/>
          <p:cNvSpPr>
            <a:spLocks noChangeAspect="1"/>
          </p:cNvSpPr>
          <p:nvPr userDrawn="1"/>
        </p:nvSpPr>
        <p:spPr>
          <a:xfrm rot="16200000" flipV="1">
            <a:off x="264045" y="2441273"/>
            <a:ext cx="900228" cy="616080"/>
          </a:xfrm>
          <a:prstGeom prst="flowChartManualInput">
            <a:avLst/>
          </a:prstGeom>
          <a:solidFill>
            <a:schemeClr val="accent2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 anchorCtr="0"/>
          <a:lstStyle/>
          <a:p>
            <a:pPr algn="ctr"/>
            <a:endParaRPr lang="en-US" sz="1998" b="1" dirty="0">
              <a:solidFill>
                <a:srgbClr val="FFFFFF"/>
              </a:solidFill>
            </a:endParaRPr>
          </a:p>
        </p:txBody>
      </p:sp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1053187" y="2076448"/>
            <a:ext cx="6083049" cy="95732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vert="horz" lIns="90000" tIns="0" rIns="90000" bIns="36000" rtlCol="0" anchor="ctr" anchorCtr="0">
            <a:noAutofit/>
          </a:bodyPr>
          <a:lstStyle>
            <a:lvl1pPr>
              <a:defRPr sz="3198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1177063" y="3242314"/>
            <a:ext cx="7220000" cy="276999"/>
          </a:xfrm>
        </p:spPr>
        <p:txBody>
          <a:bodyPr>
            <a:spAutoFit/>
          </a:bodyPr>
          <a:lstStyle>
            <a:lvl1pPr marL="0" indent="0">
              <a:buNone/>
              <a:defRPr lang="en-GB" sz="1799" dirty="0">
                <a:solidFill>
                  <a:schemeClr val="tx1"/>
                </a:solidFill>
              </a:defRPr>
            </a:lvl1pPr>
          </a:lstStyle>
          <a:p>
            <a:pPr marL="0" lvl="0"/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015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685FFDF-0319-4578-A10F-826E30F1EB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198" b="1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10518952" y="5359402"/>
            <a:ext cx="1448794" cy="1358839"/>
            <a:chOff x="11046411" y="5848715"/>
            <a:chExt cx="927568" cy="869523"/>
          </a:xfrm>
        </p:grpSpPr>
        <p:sp>
          <p:nvSpPr>
            <p:cNvPr id="17" name="Oval 16"/>
            <p:cNvSpPr/>
            <p:nvPr userDrawn="1"/>
          </p:nvSpPr>
          <p:spPr>
            <a:xfrm>
              <a:off x="11450444" y="5848715"/>
              <a:ext cx="523535" cy="523535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8" dirty="0">
                <a:solidFill>
                  <a:srgbClr val="000000"/>
                </a:solidFill>
              </a:endParaRPr>
            </a:p>
          </p:txBody>
        </p:sp>
        <p:sp>
          <p:nvSpPr>
            <p:cNvPr id="19" name="Oval 18"/>
            <p:cNvSpPr>
              <a:spLocks noChangeAspect="1"/>
            </p:cNvSpPr>
            <p:nvPr userDrawn="1"/>
          </p:nvSpPr>
          <p:spPr>
            <a:xfrm>
              <a:off x="11046411" y="5993832"/>
              <a:ext cx="724407" cy="724406"/>
            </a:xfrm>
            <a:prstGeom prst="ellipse">
              <a:avLst/>
            </a:prstGeom>
            <a:solidFill>
              <a:srgbClr val="F0F0F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8" dirty="0">
                <a:solidFill>
                  <a:srgbClr val="000000"/>
                </a:solidFill>
              </a:endParaRPr>
            </a:p>
          </p:txBody>
        </p: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48663" y="6142842"/>
              <a:ext cx="363951" cy="426387"/>
            </a:xfrm>
            <a:prstGeom prst="rect">
              <a:avLst/>
            </a:prstGeom>
          </p:spPr>
        </p:pic>
      </p:grpSp>
      <p:cxnSp>
        <p:nvCxnSpPr>
          <p:cNvPr id="21" name="Straight Connector 20"/>
          <p:cNvCxnSpPr/>
          <p:nvPr userDrawn="1"/>
        </p:nvCxnSpPr>
        <p:spPr>
          <a:xfrm>
            <a:off x="1275243" y="2491219"/>
            <a:ext cx="5433170" cy="0"/>
          </a:xfrm>
          <a:prstGeom prst="line">
            <a:avLst/>
          </a:prstGeom>
          <a:ln w="381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lowchart: Manual Input 21"/>
          <p:cNvSpPr>
            <a:spLocks noChangeAspect="1"/>
          </p:cNvSpPr>
          <p:nvPr userDrawn="1"/>
        </p:nvSpPr>
        <p:spPr>
          <a:xfrm rot="16200000" flipV="1">
            <a:off x="1133168" y="1733065"/>
            <a:ext cx="900228" cy="616080"/>
          </a:xfrm>
          <a:prstGeom prst="flowChartManualInput">
            <a:avLst/>
          </a:prstGeom>
          <a:solidFill>
            <a:schemeClr val="accent2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 anchorCtr="0"/>
          <a:lstStyle/>
          <a:p>
            <a:pPr algn="ctr"/>
            <a:endParaRPr lang="en-US" sz="1998" b="1" dirty="0">
              <a:solidFill>
                <a:srgbClr val="FFFFFF"/>
              </a:solidFill>
            </a:endParaRPr>
          </a:p>
        </p:txBody>
      </p:sp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1922310" y="1368240"/>
            <a:ext cx="6083049" cy="95732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vert="horz" lIns="90000" tIns="0" rIns="90000" bIns="36000" rtlCol="0" anchor="ctr" anchorCtr="0">
            <a:noAutofit/>
          </a:bodyPr>
          <a:lstStyle>
            <a:lvl1pPr>
              <a:defRPr sz="3198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2046186" y="2094833"/>
            <a:ext cx="7220000" cy="276999"/>
          </a:xfrm>
        </p:spPr>
        <p:txBody>
          <a:bodyPr>
            <a:spAutoFit/>
          </a:bodyPr>
          <a:lstStyle>
            <a:lvl1pPr marL="0" indent="0">
              <a:buNone/>
              <a:defRPr lang="en-GB" sz="1799" dirty="0">
                <a:solidFill>
                  <a:schemeClr val="tx1"/>
                </a:solidFill>
              </a:defRPr>
            </a:lvl1pPr>
          </a:lstStyle>
          <a:p>
            <a:pPr marL="0" lvl="0"/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75088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1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999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1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1" y="201600"/>
            <a:ext cx="10977033" cy="8604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23723" y="6496184"/>
            <a:ext cx="1584960" cy="201168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451201" y="6496184"/>
            <a:ext cx="4579200" cy="201168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624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40C1C-E499-4EE9-8945-B7F776F886FF}" type="datetimeFigureOut">
              <a:rPr lang="en-US" smtClean="0"/>
              <a:t>12/1/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EC6CD-E9F6-467B-9C1C-A14B91179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221534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4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999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1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1" y="201600"/>
            <a:ext cx="10977033" cy="8604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23723" y="6496184"/>
            <a:ext cx="1584960" cy="201168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451201" y="6496184"/>
            <a:ext cx="4579200" cy="201168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3904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65D5591-3089-485C-88E6-5C944993074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99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494739" y="6519672"/>
            <a:ext cx="1370886" cy="201168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51201" y="6519672"/>
            <a:ext cx="4579200" cy="201168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0704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E1FD04-28C6-41B6-9007-49DB44FBA6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9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E1FD04-28C6-41B6-9007-49DB44FBA6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21FD6C-DAD5-43E5-86E7-08AFA4A5BF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999" b="1" i="0" baseline="0" dirty="0">
              <a:solidFill>
                <a:schemeClr val="tx1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4574938">
            <a:off x="-1503275" y="57909"/>
            <a:ext cx="8213995" cy="6717043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149215" y="2240280"/>
            <a:ext cx="722000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49215" y="3218688"/>
            <a:ext cx="7220000" cy="645742"/>
          </a:xfrm>
        </p:spPr>
        <p:txBody>
          <a:bodyPr/>
          <a:lstStyle>
            <a:lvl1pPr marL="0" indent="0" algn="l">
              <a:buNone/>
              <a:defRPr sz="1999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168" y="5339038"/>
            <a:ext cx="98703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85110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8444B6-3185-4956-918D-DBE48709B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1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8444B6-3185-4956-918D-DBE48709B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5F3813C-2F4B-47DB-AA9E-899A51DF3C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99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243555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E5C5C16-57CB-40A6-8369-29D55253B1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65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"/>
            <a:ext cx="12192093" cy="6857950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836216" y="-1"/>
            <a:ext cx="9355784" cy="404847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5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270633" y="6381111"/>
            <a:ext cx="900497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270634" y="6506724"/>
            <a:ext cx="38157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>
                <a:solidFill>
                  <a:schemeClr val="bg1"/>
                </a:solidFill>
                <a:latin typeface="+mn-lt"/>
              </a:rPr>
              <a:t>Last Modified 7/16/2020 11:38 AM Turkey Standard Time</a:t>
            </a:r>
            <a:endParaRPr lang="en-US" sz="816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270635" y="6632336"/>
            <a:ext cx="36189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85967" y="1463556"/>
            <a:ext cx="8478152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2560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28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n-US" sz="816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eaLnBrk="0" hangingPunct="0"/>
            <a:r>
              <a:rPr lang="en-US" sz="816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15" name="LogoImage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90573" y="263459"/>
            <a:ext cx="1741648" cy="553873"/>
            <a:chOff x="0" y="973"/>
            <a:chExt cx="7680" cy="2374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65">
                <a:latin typeface="+mn-lt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65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27447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accent6"/>
                </a:solidFill>
              </a:rPr>
              <a:pPr lvl="0"/>
              <a:t>‹#›</a:t>
            </a:fld>
            <a:endParaRPr lang="en-US" sz="816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80391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96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bg1"/>
                </a:solidFill>
              </a:rPr>
              <a:pPr lvl="0"/>
              <a:t>‹#›</a:t>
            </a:fld>
            <a:endParaRPr lang="en-US" sz="816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816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75815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8E2750-7CA8-4E3A-B636-A3293004D0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3C2BD6-2565-4CF6-88CC-AF8DC5DE4D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521312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BC2B43-D9DF-4B40-9CF4-DA99A9F3E3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8765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40C1C-E499-4EE9-8945-B7F776F886FF}" type="datetimeFigureOut">
              <a:rPr lang="en-US" smtClean="0"/>
              <a:t>12/1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EC6CD-E9F6-467B-9C1C-A14B91179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9042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40C1C-E499-4EE9-8945-B7F776F886FF}" type="datetimeFigureOut">
              <a:rPr lang="en-US" smtClean="0"/>
              <a:t>12/1/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EC6CD-E9F6-467B-9C1C-A14B91179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92040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40C1C-E499-4EE9-8945-B7F776F886FF}" type="datetimeFigureOut">
              <a:rPr lang="en-US" smtClean="0"/>
              <a:t>12/1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EC6CD-E9F6-467B-9C1C-A14B91179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8321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40C1C-E499-4EE9-8945-B7F776F886FF}" type="datetimeFigureOut">
              <a:rPr lang="en-US" smtClean="0"/>
              <a:t>12/1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EC6CD-E9F6-467B-9C1C-A14B91179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7961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15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24" Type="http://schemas.openxmlformats.org/officeDocument/2006/relationships/oleObject" Target="../embeddings/oleObject1.bin"/><Relationship Id="rId5" Type="http://schemas.openxmlformats.org/officeDocument/2006/relationships/theme" Target="../theme/theme2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9" Type="http://schemas.openxmlformats.org/officeDocument/2006/relationships/theme" Target="../theme/theme3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42" Type="http://schemas.openxmlformats.org/officeDocument/2006/relationships/tags" Target="../tags/tag23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slideLayout" Target="../slideLayouts/slideLayout52.xml"/><Relationship Id="rId40" Type="http://schemas.openxmlformats.org/officeDocument/2006/relationships/vmlDrawing" Target="../drawings/vmlDrawing5.vml"/><Relationship Id="rId45" Type="http://schemas.openxmlformats.org/officeDocument/2006/relationships/image" Target="../media/image6.w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4" Type="http://schemas.openxmlformats.org/officeDocument/2006/relationships/image" Target="../media/image5.emf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Relationship Id="rId43" Type="http://schemas.openxmlformats.org/officeDocument/2006/relationships/oleObject" Target="../embeddings/oleObject5.bin"/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35.xml"/><Relationship Id="rId41" Type="http://schemas.openxmlformats.org/officeDocument/2006/relationships/tags" Target="../tags/tag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6.xml"/><Relationship Id="rId21" Type="http://schemas.openxmlformats.org/officeDocument/2006/relationships/tags" Target="../tags/tag99.xml"/><Relationship Id="rId7" Type="http://schemas.openxmlformats.org/officeDocument/2006/relationships/vmlDrawing" Target="../drawings/vmlDrawing43.v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oleObject" Target="../embeddings/oleObject43.bin"/><Relationship Id="rId2" Type="http://schemas.openxmlformats.org/officeDocument/2006/relationships/slideLayout" Target="../slideLayouts/slideLayout55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1" Type="http://schemas.openxmlformats.org/officeDocument/2006/relationships/slideLayout" Target="../slideLayouts/slideLayout54.xml"/><Relationship Id="rId6" Type="http://schemas.openxmlformats.org/officeDocument/2006/relationships/theme" Target="../theme/theme4.xml"/><Relationship Id="rId11" Type="http://schemas.openxmlformats.org/officeDocument/2006/relationships/tags" Target="../tags/tag89.xml"/><Relationship Id="rId24" Type="http://schemas.openxmlformats.org/officeDocument/2006/relationships/tags" Target="../tags/tag102.xml"/><Relationship Id="rId5" Type="http://schemas.openxmlformats.org/officeDocument/2006/relationships/slideLayout" Target="../slideLayouts/slideLayout58.xml"/><Relationship Id="rId15" Type="http://schemas.openxmlformats.org/officeDocument/2006/relationships/tags" Target="../tags/tag93.xml"/><Relationship Id="rId23" Type="http://schemas.openxmlformats.org/officeDocument/2006/relationships/tags" Target="../tags/tag101.xml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4" Type="http://schemas.openxmlformats.org/officeDocument/2006/relationships/slideLayout" Target="../slideLayouts/slideLayout57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tags" Target="../tags/tag10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940C1C-E499-4EE9-8945-B7F776F886FF}" type="datetimeFigureOut">
              <a:rPr lang="en-US" smtClean="0"/>
              <a:t>12/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DEC6CD-E9F6-467B-9C1C-A14B91179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8341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" y="2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" y="2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1" y="2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220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10658005" y="51838"/>
            <a:ext cx="1231563" cy="980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42752"/>
            <a:endParaRPr lang="x-none" sz="624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1055822" y="1979088"/>
            <a:ext cx="2082301" cy="960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624" baseline="0" noProof="0">
                <a:solidFill>
                  <a:schemeClr val="accent6"/>
                </a:solidFill>
                <a:latin typeface="+mn-lt"/>
                <a:ea typeface="+mn-ea"/>
              </a:rPr>
              <a:t>Last Modified 28.01.2020 13:17 Azerbaijan Standard Time</a:t>
            </a:r>
            <a:endParaRPr lang="x-none" sz="624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69529" y="4197071"/>
            <a:ext cx="254878" cy="960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624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9" y="234867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7" y="77305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9" y="556170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61988" y="6432383"/>
            <a:ext cx="11630453" cy="333665"/>
            <a:chOff x="75" y="3935"/>
            <a:chExt cx="5385" cy="206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5"/>
              <a:ext cx="5385" cy="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2"/>
              <a:ext cx="5152" cy="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29651" indent="-529651" defTabSz="1242752">
                <a:tabLst/>
              </a:pPr>
              <a:r>
                <a:rPr lang="x-none" sz="816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SOURCE : Source</a:t>
              </a:r>
              <a:endParaRPr lang="en-US" sz="816" baseline="0" noProof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71626" y="2615195"/>
            <a:ext cx="5801188" cy="12561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894525"/>
            <a:ext cx="5801188" cy="531278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 userDrawn="1"/>
        </p:nvSpPr>
        <p:spPr bwMode="gray">
          <a:xfrm>
            <a:off x="11759232" y="6640503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x-none" sz="816" baseline="0" smtClean="0">
                <a:solidFill>
                  <a:schemeClr val="accent6"/>
                </a:solidFill>
              </a:rPr>
              <a:pPr lvl="0" algn="r"/>
              <a:t>‹#›</a:t>
            </a:fld>
            <a:endParaRPr lang="x-none" sz="816" baseline="0" dirty="0">
              <a:solidFill>
                <a:schemeClr val="accent6"/>
              </a:solidFill>
            </a:endParaRP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1123880" y="269957"/>
            <a:ext cx="773113" cy="1001714"/>
            <a:chOff x="4936" y="176"/>
            <a:chExt cx="487" cy="631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815913" y="269956"/>
            <a:ext cx="1081088" cy="735014"/>
            <a:chOff x="4750" y="176"/>
            <a:chExt cx="681" cy="463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</p:grpSp>
      <p:grpSp>
        <p:nvGrpSpPr>
          <p:cNvPr id="117" name="McKSticker" hidden="1"/>
          <p:cNvGrpSpPr/>
          <p:nvPr userDrawn="1"/>
        </p:nvGrpSpPr>
        <p:grpSpPr bwMode="auto">
          <a:xfrm>
            <a:off x="11149641" y="269957"/>
            <a:ext cx="737830" cy="153247"/>
            <a:chOff x="8002946" y="285750"/>
            <a:chExt cx="737829" cy="153246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02946" y="285750"/>
              <a:ext cx="737829" cy="15324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02946" y="285750"/>
              <a:ext cx="0" cy="15324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02946" y="438996"/>
              <a:ext cx="73782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21" name="LegendMoons" hidden="1"/>
          <p:cNvGrpSpPr/>
          <p:nvPr userDrawn="1"/>
        </p:nvGrpSpPr>
        <p:grpSpPr bwMode="auto">
          <a:xfrm>
            <a:off x="11057055" y="269956"/>
            <a:ext cx="840049" cy="1306516"/>
            <a:chOff x="6655594" y="273840"/>
            <a:chExt cx="840047" cy="1306516"/>
          </a:xfrm>
        </p:grpSpPr>
        <p:grpSp>
          <p:nvGrpSpPr>
            <p:cNvPr id="122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40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41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123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38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39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124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36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37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125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34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35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sp>
          <p:nvSpPr>
            <p:cNvPr id="126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2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127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2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128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2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129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2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130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2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131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32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33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4011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hdr="0" ftr="0" dt="0"/>
  <p:txStyles>
    <p:titleStyle>
      <a:lvl1pPr algn="l" defTabSz="1242752" rtl="0" eaLnBrk="1" fontAlgn="base" hangingPunct="1">
        <a:spcBef>
          <a:spcPct val="0"/>
        </a:spcBef>
        <a:spcAft>
          <a:spcPct val="0"/>
        </a:spcAft>
        <a:tabLst>
          <a:tab pos="374588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42752" rtl="0" eaLnBrk="1" fontAlgn="base" hangingPunct="1">
        <a:spcBef>
          <a:spcPct val="0"/>
        </a:spcBef>
        <a:spcAft>
          <a:spcPct val="0"/>
        </a:spcAft>
        <a:defRPr lang="x-none" sz="2636" b="1">
          <a:solidFill>
            <a:schemeClr val="tx2"/>
          </a:solidFill>
          <a:latin typeface="Arial" charset="0"/>
        </a:defRPr>
      </a:lvl2pPr>
      <a:lvl3pPr algn="l" defTabSz="1242752" rtl="0" eaLnBrk="1" fontAlgn="base" hangingPunct="1">
        <a:spcBef>
          <a:spcPct val="0"/>
        </a:spcBef>
        <a:spcAft>
          <a:spcPct val="0"/>
        </a:spcAft>
        <a:defRPr lang="x-none" sz="2636" b="1">
          <a:solidFill>
            <a:schemeClr val="tx2"/>
          </a:solidFill>
          <a:latin typeface="Arial" charset="0"/>
        </a:defRPr>
      </a:lvl3pPr>
      <a:lvl4pPr algn="l" defTabSz="1242752" rtl="0" eaLnBrk="1" fontAlgn="base" hangingPunct="1">
        <a:spcBef>
          <a:spcPct val="0"/>
        </a:spcBef>
        <a:spcAft>
          <a:spcPct val="0"/>
        </a:spcAft>
        <a:defRPr lang="x-none" sz="2636" b="1">
          <a:solidFill>
            <a:schemeClr val="tx2"/>
          </a:solidFill>
          <a:latin typeface="Arial" charset="0"/>
        </a:defRPr>
      </a:lvl4pPr>
      <a:lvl5pPr algn="l" defTabSz="1242752" rtl="0" eaLnBrk="1" fontAlgn="base" hangingPunct="1">
        <a:spcBef>
          <a:spcPct val="0"/>
        </a:spcBef>
        <a:spcAft>
          <a:spcPct val="0"/>
        </a:spcAft>
        <a:defRPr lang="x-none" sz="2636" b="1">
          <a:solidFill>
            <a:schemeClr val="tx2"/>
          </a:solidFill>
          <a:latin typeface="Arial" charset="0"/>
        </a:defRPr>
      </a:lvl5pPr>
      <a:lvl6pPr marL="634596" algn="l" defTabSz="1242752" rtl="0" eaLnBrk="1" fontAlgn="base" hangingPunct="1">
        <a:spcBef>
          <a:spcPct val="0"/>
        </a:spcBef>
        <a:spcAft>
          <a:spcPct val="0"/>
        </a:spcAft>
        <a:defRPr lang="x-none" sz="2636" b="1">
          <a:solidFill>
            <a:schemeClr val="tx2"/>
          </a:solidFill>
          <a:latin typeface="Arial" charset="0"/>
        </a:defRPr>
      </a:lvl6pPr>
      <a:lvl7pPr marL="1269193" algn="l" defTabSz="1242752" rtl="0" eaLnBrk="1" fontAlgn="base" hangingPunct="1">
        <a:spcBef>
          <a:spcPct val="0"/>
        </a:spcBef>
        <a:spcAft>
          <a:spcPct val="0"/>
        </a:spcAft>
        <a:defRPr lang="x-none" sz="2636" b="1">
          <a:solidFill>
            <a:schemeClr val="tx2"/>
          </a:solidFill>
          <a:latin typeface="Arial" charset="0"/>
        </a:defRPr>
      </a:lvl7pPr>
      <a:lvl8pPr marL="1903787" algn="l" defTabSz="1242752" rtl="0" eaLnBrk="1" fontAlgn="base" hangingPunct="1">
        <a:spcBef>
          <a:spcPct val="0"/>
        </a:spcBef>
        <a:spcAft>
          <a:spcPct val="0"/>
        </a:spcAft>
        <a:defRPr lang="x-none" sz="2636" b="1">
          <a:solidFill>
            <a:schemeClr val="tx2"/>
          </a:solidFill>
          <a:latin typeface="Arial" charset="0"/>
        </a:defRPr>
      </a:lvl8pPr>
      <a:lvl9pPr marL="2538384" algn="l" defTabSz="1242752" rtl="0" eaLnBrk="1" fontAlgn="base" hangingPunct="1">
        <a:spcBef>
          <a:spcPct val="0"/>
        </a:spcBef>
        <a:spcAft>
          <a:spcPct val="0"/>
        </a:spcAft>
        <a:defRPr lang="x-none" sz="2636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4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5922" indent="-195922" algn="l" defTabSz="124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70559" algn="l" defTabSz="124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5085" indent="-158604" algn="l" defTabSz="124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0615" algn="l" defTabSz="124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1040737" indent="-180684" algn="l" defTabSz="124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220" baseline="0">
          <a:solidFill>
            <a:schemeClr val="tx1"/>
          </a:solidFill>
          <a:latin typeface="+mn-lt"/>
        </a:defRPr>
      </a:lvl6pPr>
      <a:lvl7pPr marL="1040737" indent="-180684" algn="l" defTabSz="124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220" baseline="0">
          <a:solidFill>
            <a:schemeClr val="tx1"/>
          </a:solidFill>
          <a:latin typeface="+mn-lt"/>
        </a:defRPr>
      </a:lvl7pPr>
      <a:lvl8pPr marL="1040737" indent="-180684" algn="l" defTabSz="124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220" baseline="0">
          <a:solidFill>
            <a:schemeClr val="tx1"/>
          </a:solidFill>
          <a:latin typeface="+mn-lt"/>
        </a:defRPr>
      </a:lvl8pPr>
      <a:lvl9pPr marL="1040737" indent="-180684" algn="l" defTabSz="124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22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69193" rtl="0" eaLnBrk="1" latinLnBrk="0" hangingPunct="1">
        <a:defRPr lang="x-none" sz="2498" kern="1200">
          <a:solidFill>
            <a:schemeClr val="tx1"/>
          </a:solidFill>
          <a:latin typeface="+mn-lt"/>
          <a:ea typeface="+mn-ea"/>
          <a:cs typeface="+mn-cs"/>
        </a:defRPr>
      </a:lvl1pPr>
      <a:lvl2pPr marL="634596" algn="l" defTabSz="1269193" rtl="0" eaLnBrk="1" latinLnBrk="0" hangingPunct="1">
        <a:defRPr lang="x-none" sz="2498" kern="1200">
          <a:solidFill>
            <a:schemeClr val="tx1"/>
          </a:solidFill>
          <a:latin typeface="+mn-lt"/>
          <a:ea typeface="+mn-ea"/>
          <a:cs typeface="+mn-cs"/>
        </a:defRPr>
      </a:lvl2pPr>
      <a:lvl3pPr marL="1269193" algn="l" defTabSz="1269193" rtl="0" eaLnBrk="1" latinLnBrk="0" hangingPunct="1">
        <a:defRPr lang="x-none" sz="2498" kern="1200">
          <a:solidFill>
            <a:schemeClr val="tx1"/>
          </a:solidFill>
          <a:latin typeface="+mn-lt"/>
          <a:ea typeface="+mn-ea"/>
          <a:cs typeface="+mn-cs"/>
        </a:defRPr>
      </a:lvl3pPr>
      <a:lvl4pPr marL="1903787" algn="l" defTabSz="1269193" rtl="0" eaLnBrk="1" latinLnBrk="0" hangingPunct="1">
        <a:defRPr lang="x-none" sz="2498" kern="1200">
          <a:solidFill>
            <a:schemeClr val="tx1"/>
          </a:solidFill>
          <a:latin typeface="+mn-lt"/>
          <a:ea typeface="+mn-ea"/>
          <a:cs typeface="+mn-cs"/>
        </a:defRPr>
      </a:lvl4pPr>
      <a:lvl5pPr marL="2538384" algn="l" defTabSz="1269193" rtl="0" eaLnBrk="1" latinLnBrk="0" hangingPunct="1">
        <a:defRPr lang="x-none" sz="2498" kern="1200">
          <a:solidFill>
            <a:schemeClr val="tx1"/>
          </a:solidFill>
          <a:latin typeface="+mn-lt"/>
          <a:ea typeface="+mn-ea"/>
          <a:cs typeface="+mn-cs"/>
        </a:defRPr>
      </a:lvl5pPr>
      <a:lvl6pPr marL="3172980" algn="l" defTabSz="1269193" rtl="0" eaLnBrk="1" latinLnBrk="0" hangingPunct="1">
        <a:defRPr lang="x-none" sz="2498" kern="1200">
          <a:solidFill>
            <a:schemeClr val="tx1"/>
          </a:solidFill>
          <a:latin typeface="+mn-lt"/>
          <a:ea typeface="+mn-ea"/>
          <a:cs typeface="+mn-cs"/>
        </a:defRPr>
      </a:lvl6pPr>
      <a:lvl7pPr marL="3807577" algn="l" defTabSz="1269193" rtl="0" eaLnBrk="1" latinLnBrk="0" hangingPunct="1">
        <a:defRPr lang="x-none" sz="2498" kern="1200">
          <a:solidFill>
            <a:schemeClr val="tx1"/>
          </a:solidFill>
          <a:latin typeface="+mn-lt"/>
          <a:ea typeface="+mn-ea"/>
          <a:cs typeface="+mn-cs"/>
        </a:defRPr>
      </a:lvl7pPr>
      <a:lvl8pPr marL="4442172" algn="l" defTabSz="1269193" rtl="0" eaLnBrk="1" latinLnBrk="0" hangingPunct="1">
        <a:defRPr lang="x-none" sz="2498" kern="1200">
          <a:solidFill>
            <a:schemeClr val="tx1"/>
          </a:solidFill>
          <a:latin typeface="+mn-lt"/>
          <a:ea typeface="+mn-ea"/>
          <a:cs typeface="+mn-cs"/>
        </a:defRPr>
      </a:lvl8pPr>
      <a:lvl9pPr marL="5076769" algn="l" defTabSz="1269193" rtl="0" eaLnBrk="1" latinLnBrk="0" hangingPunct="1">
        <a:defRPr lang="x-none" sz="24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55F6C00-E8B7-4B38-BE48-F538C4771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6" name="think-cell Slide" r:id="rId43" imgW="493" imgH="493" progId="TCLayout.ActiveDocument.1">
                  <p:embed/>
                </p:oleObj>
              </mc:Choice>
              <mc:Fallback>
                <p:oleObj name="think-cell Slide" r:id="rId43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55F6C00-E8B7-4B38-BE48-F538C4771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C396A2F-983D-4132-A314-CB47E3D6FCE6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99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01600"/>
            <a:ext cx="109728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425600"/>
            <a:ext cx="10972800" cy="4700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609600" y="6519672"/>
            <a:ext cx="885139" cy="2011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US" sz="1099" dirty="0">
                <a:solidFill>
                  <a:srgbClr val="646464"/>
                </a:solidFill>
              </a:rPr>
              <a:t>Page </a:t>
            </a:r>
            <a:fld id="{9AE4D82F-B047-469B-AC52-A46321747EAF}" type="slidenum">
              <a:rPr lang="en-US" sz="1099" smtClean="0">
                <a:solidFill>
                  <a:srgbClr val="646464"/>
                </a:solidFill>
              </a:rPr>
              <a:pPr/>
              <a:t>‹#›</a:t>
            </a:fld>
            <a:endParaRPr lang="en-US" sz="1099" dirty="0">
              <a:solidFill>
                <a:srgbClr val="646464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5135" y="6327648"/>
            <a:ext cx="399711" cy="408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712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  <p:sldLayoutId id="2147483686" r:id="rId21"/>
    <p:sldLayoutId id="2147483687" r:id="rId22"/>
    <p:sldLayoutId id="2147483688" r:id="rId23"/>
    <p:sldLayoutId id="2147483689" r:id="rId24"/>
    <p:sldLayoutId id="2147483690" r:id="rId25"/>
    <p:sldLayoutId id="2147483691" r:id="rId26"/>
    <p:sldLayoutId id="2147483692" r:id="rId27"/>
    <p:sldLayoutId id="2147483693" r:id="rId28"/>
    <p:sldLayoutId id="2147483694" r:id="rId29"/>
    <p:sldLayoutId id="2147483695" r:id="rId30"/>
    <p:sldLayoutId id="2147483696" r:id="rId31"/>
    <p:sldLayoutId id="2147483697" r:id="rId32"/>
    <p:sldLayoutId id="2147483698" r:id="rId33"/>
    <p:sldLayoutId id="2147483699" r:id="rId34"/>
    <p:sldLayoutId id="2147483700" r:id="rId35"/>
    <p:sldLayoutId id="2147483701" r:id="rId36"/>
    <p:sldLayoutId id="2147483702" r:id="rId37"/>
    <p:sldLayoutId id="2147483703" r:id="rId38"/>
  </p:sldLayoutIdLst>
  <p:hf sldNum="0"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999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399" kern="1200">
          <a:solidFill>
            <a:schemeClr val="bg1"/>
          </a:solidFill>
          <a:latin typeface="+mn-lt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999" kern="1200">
          <a:solidFill>
            <a:schemeClr val="bg1"/>
          </a:solidFill>
          <a:latin typeface="+mn-lt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799" kern="1200">
          <a:solidFill>
            <a:schemeClr val="bg1"/>
          </a:solidFill>
          <a:latin typeface="+mn-lt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599" kern="1200">
          <a:solidFill>
            <a:schemeClr val="bg1"/>
          </a:solidFill>
          <a:latin typeface="+mn-lt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599" kern="1200">
          <a:solidFill>
            <a:schemeClr val="bg1"/>
          </a:solidFill>
          <a:latin typeface="+mn-lt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48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1100704" y="1980017"/>
            <a:ext cx="199253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Last Modified 7/16/2020 11:38 AM Turkey Standard Time</a:t>
            </a:r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70213" y="4197040"/>
            <a:ext cx="253513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5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7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chemeClr val="accent6"/>
                </a:solidFill>
                <a:latin typeface="+mn-lt"/>
                <a:ea typeface="+mn-ea"/>
              </a:rPr>
              <a:t>CLIENT</a:t>
            </a:r>
            <a:endParaRPr lang="en-US" sz="163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63045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65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65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65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65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65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65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65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5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5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5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5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5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5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5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5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5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5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5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7217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hyperlink" Target="https://en.wikipedia.org/wiki/Bank_of_America" TargetMode="External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jpeg"/><Relationship Id="rId9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arıncı qalstuklar və yarırəsmi stil - «UNİBANK»DA NECƏ GEYİNİRLƏR - STYLE  - FED.az">
            <a:extLst>
              <a:ext uri="{FF2B5EF4-FFF2-40B4-BE49-F238E27FC236}">
                <a16:creationId xmlns:a16="http://schemas.microsoft.com/office/drawing/2014/main" id="{3023C419-4DBF-5049-9958-9942AC7CC0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93" r="8922"/>
          <a:stretch/>
        </p:blipFill>
        <p:spPr bwMode="auto">
          <a:xfrm>
            <a:off x="0" y="-84019"/>
            <a:ext cx="12192000" cy="7056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05">
            <a:extLst>
              <a:ext uri="{FF2B5EF4-FFF2-40B4-BE49-F238E27FC236}">
                <a16:creationId xmlns:a16="http://schemas.microsoft.com/office/drawing/2014/main" id="{97B33C8A-11AB-934E-B81D-5C0BC768D7A4}"/>
              </a:ext>
            </a:extLst>
          </p:cNvPr>
          <p:cNvSpPr>
            <a:spLocks/>
          </p:cNvSpPr>
          <p:nvPr/>
        </p:nvSpPr>
        <p:spPr>
          <a:xfrm>
            <a:off x="-14288" y="-91730"/>
            <a:ext cx="12206288" cy="7056782"/>
          </a:xfrm>
          <a:prstGeom prst="rect">
            <a:avLst/>
          </a:prstGeom>
          <a:solidFill>
            <a:srgbClr val="FF6011">
              <a:alpha val="81000"/>
            </a:srgbClr>
          </a:solidFill>
          <a:ln w="9525" cap="flat" cmpd="sng" algn="ctr">
            <a:noFill/>
            <a:prstDash val="solid"/>
          </a:ln>
          <a:effectLst/>
        </p:spPr>
        <p:txBody>
          <a:bodyPr wrap="none" lIns="0" tIns="0" rIns="0" bIns="0" rtlCol="0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-2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F6F1E9E7-4457-3145-B9DA-3257C261E8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ecom</a:t>
            </a:r>
            <a:endParaRPr lang="ru-AZ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одзаголовок 2">
            <a:extLst>
              <a:ext uri="{FF2B5EF4-FFF2-40B4-BE49-F238E27FC236}">
                <a16:creationId xmlns:a16="http://schemas.microsoft.com/office/drawing/2014/main" id="{DF961E36-8E26-0348-869D-9B786C9E3D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nership</a:t>
            </a:r>
            <a:endParaRPr lang="ru-AZ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16552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11BE2EB-250F-2042-B06E-209220530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131" y="116830"/>
            <a:ext cx="10515600" cy="1325563"/>
          </a:xfrm>
        </p:spPr>
        <p:txBody>
          <a:bodyPr/>
          <a:lstStyle/>
          <a:p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Context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AZ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7DC88E6-B1FE-1B4E-9AC2-A8C7DB283C15}"/>
              </a:ext>
            </a:extLst>
          </p:cNvPr>
          <p:cNvSpPr txBox="1"/>
          <p:nvPr/>
        </p:nvSpPr>
        <p:spPr>
          <a:xfrm>
            <a:off x="1763396" y="2720695"/>
            <a:ext cx="383589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 a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1995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speech, Hugh McColl, Jr. said, “As every school child knows, th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inosaur didn’t survive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 Ice Age…. It’s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not that he lacked the capacity to evolv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. H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just didn’t have the tim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. Unlike the dinosaur, bankers can see the changes ahead.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We have a choice in the matter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. The dinosaur never did.”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9A87103-521D-854B-B45D-C15F985FF57B}"/>
              </a:ext>
            </a:extLst>
          </p:cNvPr>
          <p:cNvSpPr txBox="1"/>
          <p:nvPr/>
        </p:nvSpPr>
        <p:spPr>
          <a:xfrm>
            <a:off x="1763396" y="1886801"/>
            <a:ext cx="26844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Hugh McColl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ormer Chairman, CEO 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  <a:hlinkClick r:id="rId3" tooltip="Bank of America"/>
              </a:rPr>
              <a:t>Bank of America</a:t>
            </a:r>
            <a:endParaRPr lang="ru-AZ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402" name="Picture 2" descr="Hugh L. McColl, Jr. by John Seibels Walker - Art Renewal Center">
            <a:extLst>
              <a:ext uri="{FF2B5EF4-FFF2-40B4-BE49-F238E27FC236}">
                <a16:creationId xmlns:a16="http://schemas.microsoft.com/office/drawing/2014/main" id="{BBA89ED6-1015-D24D-BCFA-D82654DDB2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975" y="1934907"/>
            <a:ext cx="1292578" cy="1292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AEBE3B69-1197-7849-9094-44ABFE06B94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2108" y="1134588"/>
            <a:ext cx="5640917" cy="1446608"/>
          </a:xfrm>
          <a:prstGeom prst="rect">
            <a:avLst/>
          </a:prstGeom>
        </p:spPr>
      </p:pic>
      <p:pic>
        <p:nvPicPr>
          <p:cNvPr id="10" name="Рисунок 9" descr="Изображение выглядит как оранжевый, автомобиль, грузовик, припаркован&#10;&#10;Автоматически созданное описание">
            <a:extLst>
              <a:ext uri="{FF2B5EF4-FFF2-40B4-BE49-F238E27FC236}">
                <a16:creationId xmlns:a16="http://schemas.microsoft.com/office/drawing/2014/main" id="{0599D20C-DA4E-6A4E-8555-351453AF1F1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4577" y="2435889"/>
            <a:ext cx="4118448" cy="2211577"/>
          </a:xfrm>
          <a:prstGeom prst="rect">
            <a:avLst/>
          </a:prstGeom>
        </p:spPr>
      </p:pic>
      <p:pic>
        <p:nvPicPr>
          <p:cNvPr id="102406" name="Picture 6">
            <a:extLst>
              <a:ext uri="{FF2B5EF4-FFF2-40B4-BE49-F238E27FC236}">
                <a16:creationId xmlns:a16="http://schemas.microsoft.com/office/drawing/2014/main" id="{AC560768-2C53-1D4D-9C83-77198E51A1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3040" y="2435889"/>
            <a:ext cx="1069622" cy="10696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08" name="Picture 8" descr="Акционеры Vodafone Украина переизбрали набсовет и ввели в его состав  менеджеров — «Interfax» — последние новости Азербайджана, Грузии и Армении">
            <a:extLst>
              <a:ext uri="{FF2B5EF4-FFF2-40B4-BE49-F238E27FC236}">
                <a16:creationId xmlns:a16="http://schemas.microsoft.com/office/drawing/2014/main" id="{DA91D07A-F989-E14F-B308-95AFE9C371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1193" y="756611"/>
            <a:ext cx="1095274" cy="836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0E8F2182-482B-6A4C-9DEC-A2F4BA7B5A4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8089" y="3653438"/>
            <a:ext cx="3295712" cy="244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9820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11BE2EB-250F-2042-B06E-209220530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131" y="116830"/>
            <a:ext cx="10515600" cy="1325563"/>
          </a:xfrm>
        </p:spPr>
        <p:txBody>
          <a:bodyPr/>
          <a:lstStyle/>
          <a:p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Problems on todays the periphery is our problem tomorrow</a:t>
            </a:r>
            <a:endParaRPr lang="ru-AZ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0338854-4C18-CB41-8711-2C09B868B58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917"/>
          <a:stretch/>
        </p:blipFill>
        <p:spPr>
          <a:xfrm>
            <a:off x="4276326" y="1106149"/>
            <a:ext cx="2977158" cy="1632010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978C3A17-6719-BD46-8DCB-5F25F2D44325}"/>
              </a:ext>
            </a:extLst>
          </p:cNvPr>
          <p:cNvSpPr txBox="1"/>
          <p:nvPr/>
        </p:nvSpPr>
        <p:spPr>
          <a:xfrm>
            <a:off x="825134" y="1622276"/>
            <a:ext cx="3166571" cy="5478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elecoms struggling with declining revenues on voice and ARPU, even if data revenue is growing (however due to economics of scale – lower cost price per unit – telecoms adjusting prices on data)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elecoms capital cost them too much: too much to earn more tomorrow than today, and too much to be profitable in the future in they not differentiate</a:t>
            </a:r>
          </a:p>
          <a:p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There is only one way for telecoms not to die like dinosaurs –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tart to be convergent and they have already started: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Transform from telecom to FinTech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trategic Partnership with Bank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Partnership with FinTech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Going to OTT market 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AZ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itleTrackerNum 3">
            <a:extLst>
              <a:ext uri="{FF2B5EF4-FFF2-40B4-BE49-F238E27FC236}">
                <a16:creationId xmlns:a16="http://schemas.microsoft.com/office/drawing/2014/main" id="{29E00EFB-7FB8-E24F-8A24-ABFB47C93936}"/>
              </a:ext>
            </a:extLst>
          </p:cNvPr>
          <p:cNvSpPr>
            <a:spLocks/>
          </p:cNvSpPr>
          <p:nvPr/>
        </p:nvSpPr>
        <p:spPr>
          <a:xfrm>
            <a:off x="448472" y="1679136"/>
            <a:ext cx="324000" cy="324000"/>
          </a:xfrm>
          <a:prstGeom prst="ellipse">
            <a:avLst/>
          </a:prstGeom>
          <a:solidFill>
            <a:srgbClr val="FF4300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  <a:latin typeface="Arial"/>
              </a:rPr>
              <a:t>A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itleTrackerNum 3">
            <a:extLst>
              <a:ext uri="{FF2B5EF4-FFF2-40B4-BE49-F238E27FC236}">
                <a16:creationId xmlns:a16="http://schemas.microsoft.com/office/drawing/2014/main" id="{E0307465-A3CB-DA42-9AF7-25F5C9C4D922}"/>
              </a:ext>
            </a:extLst>
          </p:cNvPr>
          <p:cNvSpPr>
            <a:spLocks/>
          </p:cNvSpPr>
          <p:nvPr/>
        </p:nvSpPr>
        <p:spPr>
          <a:xfrm>
            <a:off x="445301" y="3128000"/>
            <a:ext cx="324000" cy="324000"/>
          </a:xfrm>
          <a:prstGeom prst="ellipse">
            <a:avLst/>
          </a:prstGeom>
          <a:solidFill>
            <a:srgbClr val="FF4300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</a:p>
        </p:txBody>
      </p:sp>
      <p:sp>
        <p:nvSpPr>
          <p:cNvPr id="40" name="TitleTrackerNum 3">
            <a:extLst>
              <a:ext uri="{FF2B5EF4-FFF2-40B4-BE49-F238E27FC236}">
                <a16:creationId xmlns:a16="http://schemas.microsoft.com/office/drawing/2014/main" id="{5F641FB9-693D-BC45-AD40-7D3B4F3B8E7B}"/>
              </a:ext>
            </a:extLst>
          </p:cNvPr>
          <p:cNvSpPr>
            <a:spLocks/>
          </p:cNvSpPr>
          <p:nvPr/>
        </p:nvSpPr>
        <p:spPr>
          <a:xfrm>
            <a:off x="463858" y="4177914"/>
            <a:ext cx="324000" cy="324000"/>
          </a:xfrm>
          <a:prstGeom prst="ellipse">
            <a:avLst/>
          </a:prstGeom>
          <a:solidFill>
            <a:srgbClr val="FF4300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  <a:latin typeface="Arial"/>
              </a:rPr>
              <a:t>C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6C6BBFC9-320B-EB4E-B658-5CB6CDD737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6503" y="2991557"/>
            <a:ext cx="7103934" cy="3557078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352EC146-5232-5F4D-AD14-7F0253F2B02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376"/>
          <a:stretch/>
        </p:blipFill>
        <p:spPr>
          <a:xfrm>
            <a:off x="7688470" y="1055939"/>
            <a:ext cx="2977158" cy="1682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5704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11BE2EB-250F-2042-B06E-209220530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131" y="116830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Opportunity</a:t>
            </a:r>
            <a:b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Bank and Telecoms should be as one to surge</a:t>
            </a:r>
            <a:endParaRPr lang="ru-AZ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A29E9A52-D353-204C-B66B-ED8827C8101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420" y="1295638"/>
            <a:ext cx="8170824" cy="2804052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60C320B6-E4B0-A84B-AF8A-B33264D0FF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9744" y="1389564"/>
            <a:ext cx="2463800" cy="130810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382E7001-8ED3-AB4F-9069-8A6D3771BFB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6305" y="2284445"/>
            <a:ext cx="1714500" cy="130810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DB17387E-7706-054E-9B4A-E3DF87D487A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4016" y="3592545"/>
            <a:ext cx="2679700" cy="749300"/>
          </a:xfrm>
          <a:prstGeom prst="rect">
            <a:avLst/>
          </a:prstGeom>
        </p:spPr>
      </p:pic>
      <p:sp>
        <p:nvSpPr>
          <p:cNvPr id="35" name="TitleTrackerNum 3">
            <a:extLst>
              <a:ext uri="{FF2B5EF4-FFF2-40B4-BE49-F238E27FC236}">
                <a16:creationId xmlns:a16="http://schemas.microsoft.com/office/drawing/2014/main" id="{916C3925-8658-8A4C-8E2A-8B709B9EA6E2}"/>
              </a:ext>
            </a:extLst>
          </p:cNvPr>
          <p:cNvSpPr>
            <a:spLocks/>
          </p:cNvSpPr>
          <p:nvPr/>
        </p:nvSpPr>
        <p:spPr>
          <a:xfrm>
            <a:off x="8922305" y="1513005"/>
            <a:ext cx="324000" cy="324000"/>
          </a:xfrm>
          <a:prstGeom prst="ellipse">
            <a:avLst/>
          </a:prstGeom>
          <a:solidFill>
            <a:srgbClr val="FF4300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  <a:latin typeface="Arial"/>
              </a:rPr>
              <a:t>A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TitleTrackerNum 3">
            <a:extLst>
              <a:ext uri="{FF2B5EF4-FFF2-40B4-BE49-F238E27FC236}">
                <a16:creationId xmlns:a16="http://schemas.microsoft.com/office/drawing/2014/main" id="{5D34FDB8-8AA7-8540-9DD3-62B08938D7DA}"/>
              </a:ext>
            </a:extLst>
          </p:cNvPr>
          <p:cNvSpPr>
            <a:spLocks/>
          </p:cNvSpPr>
          <p:nvPr/>
        </p:nvSpPr>
        <p:spPr>
          <a:xfrm>
            <a:off x="9493987" y="2447041"/>
            <a:ext cx="324000" cy="324000"/>
          </a:xfrm>
          <a:prstGeom prst="ellipse">
            <a:avLst/>
          </a:prstGeom>
          <a:solidFill>
            <a:srgbClr val="FF4300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  <a:latin typeface="Arial"/>
              </a:rPr>
              <a:t>A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TitleTrackerNum 3">
            <a:extLst>
              <a:ext uri="{FF2B5EF4-FFF2-40B4-BE49-F238E27FC236}">
                <a16:creationId xmlns:a16="http://schemas.microsoft.com/office/drawing/2014/main" id="{295B92D8-0698-9C46-8CC2-FDD15FD8B271}"/>
              </a:ext>
            </a:extLst>
          </p:cNvPr>
          <p:cNvSpPr>
            <a:spLocks/>
          </p:cNvSpPr>
          <p:nvPr/>
        </p:nvSpPr>
        <p:spPr>
          <a:xfrm>
            <a:off x="8801025" y="3592545"/>
            <a:ext cx="324000" cy="324000"/>
          </a:xfrm>
          <a:prstGeom prst="ellipse">
            <a:avLst/>
          </a:prstGeom>
          <a:solidFill>
            <a:srgbClr val="FF4300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  <a:latin typeface="Arial"/>
              </a:rPr>
              <a:t>C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Рисунок 16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0C8F82F9-1EEA-E642-ACFF-629668671F7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5025" y="4487426"/>
            <a:ext cx="2311400" cy="787400"/>
          </a:xfrm>
          <a:prstGeom prst="rect">
            <a:avLst/>
          </a:prstGeom>
        </p:spPr>
      </p:pic>
      <p:sp>
        <p:nvSpPr>
          <p:cNvPr id="40" name="TitleTrackerNum 3">
            <a:extLst>
              <a:ext uri="{FF2B5EF4-FFF2-40B4-BE49-F238E27FC236}">
                <a16:creationId xmlns:a16="http://schemas.microsoft.com/office/drawing/2014/main" id="{C086D205-1B7F-C24F-B96E-F02E5F27EC68}"/>
              </a:ext>
            </a:extLst>
          </p:cNvPr>
          <p:cNvSpPr>
            <a:spLocks/>
          </p:cNvSpPr>
          <p:nvPr/>
        </p:nvSpPr>
        <p:spPr>
          <a:xfrm>
            <a:off x="9050588" y="4520593"/>
            <a:ext cx="324000" cy="324000"/>
          </a:xfrm>
          <a:prstGeom prst="ellipse">
            <a:avLst/>
          </a:prstGeom>
          <a:solidFill>
            <a:srgbClr val="FF4300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  <a:latin typeface="Arial"/>
              </a:rPr>
              <a:t>D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TitleTrackerNum 3">
            <a:extLst>
              <a:ext uri="{FF2B5EF4-FFF2-40B4-BE49-F238E27FC236}">
                <a16:creationId xmlns:a16="http://schemas.microsoft.com/office/drawing/2014/main" id="{FD8456BE-0573-F94A-8505-4F78499F7DC2}"/>
              </a:ext>
            </a:extLst>
          </p:cNvPr>
          <p:cNvSpPr>
            <a:spLocks/>
          </p:cNvSpPr>
          <p:nvPr/>
        </p:nvSpPr>
        <p:spPr>
          <a:xfrm>
            <a:off x="499032" y="4325426"/>
            <a:ext cx="324000" cy="324000"/>
          </a:xfrm>
          <a:prstGeom prst="ellipse">
            <a:avLst/>
          </a:prstGeom>
          <a:solidFill>
            <a:srgbClr val="FF4300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  <a:latin typeface="Arial"/>
              </a:rPr>
              <a:t>A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TitleTrackerNum 3">
            <a:extLst>
              <a:ext uri="{FF2B5EF4-FFF2-40B4-BE49-F238E27FC236}">
                <a16:creationId xmlns:a16="http://schemas.microsoft.com/office/drawing/2014/main" id="{D7F2E1BE-78DD-1048-8476-3C451D10EB70}"/>
              </a:ext>
            </a:extLst>
          </p:cNvPr>
          <p:cNvSpPr>
            <a:spLocks/>
          </p:cNvSpPr>
          <p:nvPr/>
        </p:nvSpPr>
        <p:spPr>
          <a:xfrm>
            <a:off x="3141413" y="2450666"/>
            <a:ext cx="324000" cy="324000"/>
          </a:xfrm>
          <a:prstGeom prst="ellipse">
            <a:avLst/>
          </a:prstGeom>
          <a:solidFill>
            <a:srgbClr val="FF4300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</a:p>
        </p:txBody>
      </p:sp>
      <p:sp>
        <p:nvSpPr>
          <p:cNvPr id="44" name="TitleTrackerNum 3">
            <a:extLst>
              <a:ext uri="{FF2B5EF4-FFF2-40B4-BE49-F238E27FC236}">
                <a16:creationId xmlns:a16="http://schemas.microsoft.com/office/drawing/2014/main" id="{4E8DF4EB-1237-8D42-A95A-B09959EC09B0}"/>
              </a:ext>
            </a:extLst>
          </p:cNvPr>
          <p:cNvSpPr>
            <a:spLocks/>
          </p:cNvSpPr>
          <p:nvPr/>
        </p:nvSpPr>
        <p:spPr>
          <a:xfrm>
            <a:off x="3159970" y="3500580"/>
            <a:ext cx="324000" cy="324000"/>
          </a:xfrm>
          <a:prstGeom prst="ellipse">
            <a:avLst/>
          </a:prstGeom>
          <a:solidFill>
            <a:srgbClr val="FF4300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  <a:latin typeface="Arial"/>
              </a:rPr>
              <a:t>C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D24D132-29AE-C348-BEEF-DE7E6DE62179}"/>
              </a:ext>
            </a:extLst>
          </p:cNvPr>
          <p:cNvSpPr/>
          <p:nvPr/>
        </p:nvSpPr>
        <p:spPr>
          <a:xfrm>
            <a:off x="897469" y="4279375"/>
            <a:ext cx="26980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Azercell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builds Strategic Partnership with International Bank of Azerbaijan in convergent products and Data related initiatives (46% market share)</a:t>
            </a:r>
          </a:p>
        </p:txBody>
      </p:sp>
      <p:sp>
        <p:nvSpPr>
          <p:cNvPr id="46" name="TitleTrackerNum 3">
            <a:extLst>
              <a:ext uri="{FF2B5EF4-FFF2-40B4-BE49-F238E27FC236}">
                <a16:creationId xmlns:a16="http://schemas.microsoft.com/office/drawing/2014/main" id="{54C1DF67-4157-AB4B-9C49-CCF4D524FF18}"/>
              </a:ext>
            </a:extLst>
          </p:cNvPr>
          <p:cNvSpPr>
            <a:spLocks/>
          </p:cNvSpPr>
          <p:nvPr/>
        </p:nvSpPr>
        <p:spPr>
          <a:xfrm>
            <a:off x="514022" y="5262391"/>
            <a:ext cx="324000" cy="324000"/>
          </a:xfrm>
          <a:prstGeom prst="ellipse">
            <a:avLst/>
          </a:prstGeom>
          <a:solidFill>
            <a:srgbClr val="FF4300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  <a:latin typeface="Arial"/>
              </a:rPr>
              <a:t>B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1B553DBE-B598-E84A-B248-03C470FC131F}"/>
              </a:ext>
            </a:extLst>
          </p:cNvPr>
          <p:cNvSpPr/>
          <p:nvPr/>
        </p:nvSpPr>
        <p:spPr>
          <a:xfrm>
            <a:off x="912459" y="5311753"/>
            <a:ext cx="26980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Bakcell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and Nar are the part of the NEQSOL holding which try to build ecosystem (52% market share)</a:t>
            </a:r>
          </a:p>
        </p:txBody>
      </p:sp>
      <p:sp>
        <p:nvSpPr>
          <p:cNvPr id="48" name="TitleTrackerNum 3">
            <a:extLst>
              <a:ext uri="{FF2B5EF4-FFF2-40B4-BE49-F238E27FC236}">
                <a16:creationId xmlns:a16="http://schemas.microsoft.com/office/drawing/2014/main" id="{FFADF21D-5D69-4245-9A22-7402D205E193}"/>
              </a:ext>
            </a:extLst>
          </p:cNvPr>
          <p:cNvSpPr>
            <a:spLocks/>
          </p:cNvSpPr>
          <p:nvPr/>
        </p:nvSpPr>
        <p:spPr>
          <a:xfrm>
            <a:off x="514022" y="5632373"/>
            <a:ext cx="324000" cy="324000"/>
          </a:xfrm>
          <a:prstGeom prst="ellipse">
            <a:avLst/>
          </a:prstGeom>
          <a:solidFill>
            <a:srgbClr val="FF4300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  <a:latin typeface="Arial"/>
              </a:rPr>
              <a:t>C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TitleTrackerNum 3">
            <a:extLst>
              <a:ext uri="{FF2B5EF4-FFF2-40B4-BE49-F238E27FC236}">
                <a16:creationId xmlns:a16="http://schemas.microsoft.com/office/drawing/2014/main" id="{BE994027-42FA-BD4E-A16B-B761F6D7FA5F}"/>
              </a:ext>
            </a:extLst>
          </p:cNvPr>
          <p:cNvSpPr>
            <a:spLocks/>
          </p:cNvSpPr>
          <p:nvPr/>
        </p:nvSpPr>
        <p:spPr>
          <a:xfrm>
            <a:off x="3960285" y="4325426"/>
            <a:ext cx="324000" cy="324000"/>
          </a:xfrm>
          <a:prstGeom prst="ellipse">
            <a:avLst/>
          </a:prstGeom>
          <a:solidFill>
            <a:srgbClr val="FF4300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  <a:latin typeface="Arial"/>
              </a:rPr>
              <a:t>D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A683075D-0F82-C14D-8A95-6BFCF3523B20}"/>
              </a:ext>
            </a:extLst>
          </p:cNvPr>
          <p:cNvSpPr/>
          <p:nvPr/>
        </p:nvSpPr>
        <p:spPr>
          <a:xfrm>
            <a:off x="4358722" y="4279375"/>
            <a:ext cx="26980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Simbrella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partners with all three operators in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SimKredit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and other products</a:t>
            </a:r>
          </a:p>
        </p:txBody>
      </p:sp>
    </p:spTree>
    <p:extLst>
      <p:ext uri="{BB962C8B-B14F-4D97-AF65-F5344CB8AC3E}">
        <p14:creationId xmlns:p14="http://schemas.microsoft.com/office/powerpoint/2010/main" val="7624539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11BE2EB-250F-2042-B06E-209220530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131" y="116830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 dirty="0" err="1">
                <a:latin typeface="Arial" panose="020B0604020202020204" pitchFamily="34" charset="0"/>
                <a:cs typeface="Arial" panose="020B0604020202020204" pitchFamily="34" charset="0"/>
              </a:rPr>
              <a:t>Simbrella</a:t>
            </a:r>
            <a:endParaRPr lang="ru-AZ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2A0E159-53D3-7B48-BAE1-1B8B264073A3}"/>
              </a:ext>
            </a:extLst>
          </p:cNvPr>
          <p:cNvSpPr/>
          <p:nvPr/>
        </p:nvSpPr>
        <p:spPr>
          <a:xfrm>
            <a:off x="8361846" y="289679"/>
            <a:ext cx="3830154" cy="62786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i="1" u="sng" dirty="0">
                <a:solidFill>
                  <a:srgbClr val="FF4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BERS</a:t>
            </a:r>
            <a:endParaRPr lang="en-US" b="1" i="1" u="sng" dirty="0">
              <a:solidFill>
                <a:srgbClr val="FF43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b="1" i="1" dirty="0">
              <a:solidFill>
                <a:srgbClr val="FF931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b="1" i="1" dirty="0">
                <a:solidFill>
                  <a:srgbClr val="FF9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0 </a:t>
            </a:r>
            <a:r>
              <a:rPr lang="en-US" b="1" dirty="0">
                <a:solidFill>
                  <a:srgbClr val="FF9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lion</a:t>
            </a:r>
          </a:p>
          <a:p>
            <a:r>
              <a:rPr lang="en-US" cap="all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 USERS SERVED GLOBALLY</a:t>
            </a:r>
          </a:p>
          <a:p>
            <a:endParaRPr lang="en-US" cap="all" dirty="0">
              <a:solidFill>
                <a:srgbClr val="22222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b="1" dirty="0">
                <a:solidFill>
                  <a:srgbClr val="FF9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en-US" b="1" i="1" dirty="0">
                <a:solidFill>
                  <a:srgbClr val="FF9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solidFill>
                  <a:srgbClr val="FF9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ars</a:t>
            </a:r>
          </a:p>
          <a:p>
            <a:r>
              <a:rPr lang="en-US" cap="all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PROFESSIONAL EXPERIENCE</a:t>
            </a:r>
          </a:p>
          <a:p>
            <a:endParaRPr lang="en-US" cap="all" dirty="0">
              <a:solidFill>
                <a:srgbClr val="22222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b="1" dirty="0">
                <a:solidFill>
                  <a:srgbClr val="FF9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1</a:t>
            </a:r>
            <a:r>
              <a:rPr lang="en-US" b="1" i="1" dirty="0">
                <a:solidFill>
                  <a:srgbClr val="FF9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solidFill>
                  <a:srgbClr val="FF9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ion$</a:t>
            </a:r>
          </a:p>
          <a:p>
            <a:r>
              <a:rPr lang="en-US" cap="all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TH OF TOTAL LOANS DISBURSED TO DATE</a:t>
            </a:r>
          </a:p>
          <a:p>
            <a:endParaRPr lang="en-US" cap="all" dirty="0">
              <a:solidFill>
                <a:srgbClr val="22222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b="1" dirty="0">
                <a:solidFill>
                  <a:srgbClr val="FF9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  <a:r>
              <a:rPr lang="en-US" b="1" i="1" dirty="0">
                <a:solidFill>
                  <a:srgbClr val="FF9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solidFill>
                  <a:srgbClr val="FF9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lion</a:t>
            </a:r>
          </a:p>
          <a:p>
            <a:r>
              <a:rPr lang="en-US" cap="all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ACTIONS PER DAY</a:t>
            </a:r>
          </a:p>
          <a:p>
            <a:endParaRPr lang="en-US" cap="all" dirty="0">
              <a:solidFill>
                <a:srgbClr val="22222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b="1" dirty="0">
                <a:solidFill>
                  <a:srgbClr val="FF9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</a:t>
            </a:r>
            <a:r>
              <a:rPr lang="en-US" b="1" i="1" dirty="0">
                <a:solidFill>
                  <a:srgbClr val="FF9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solidFill>
                  <a:srgbClr val="FF9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ries</a:t>
            </a:r>
          </a:p>
          <a:p>
            <a:r>
              <a:rPr lang="en-US" cap="all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GLOBAL PRESENCE</a:t>
            </a:r>
          </a:p>
          <a:p>
            <a:endParaRPr lang="en-US" cap="all" dirty="0">
              <a:solidFill>
                <a:srgbClr val="22222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b="1" dirty="0">
                <a:solidFill>
                  <a:srgbClr val="FF9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.2</a:t>
            </a:r>
            <a:r>
              <a:rPr lang="en-US" b="1" i="1" dirty="0">
                <a:solidFill>
                  <a:srgbClr val="FF9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solidFill>
                  <a:srgbClr val="FF93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ion</a:t>
            </a:r>
          </a:p>
          <a:p>
            <a:r>
              <a:rPr lang="en-US" cap="all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LOANS PROVIDED TO DATE</a:t>
            </a:r>
            <a:endParaRPr lang="en-US" b="0" i="0" cap="all" dirty="0">
              <a:solidFill>
                <a:srgbClr val="2222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E9211DB1-3773-534C-B6EA-02C68369FB2C}"/>
              </a:ext>
            </a:extLst>
          </p:cNvPr>
          <p:cNvSpPr/>
          <p:nvPr/>
        </p:nvSpPr>
        <p:spPr>
          <a:xfrm>
            <a:off x="307131" y="1256145"/>
            <a:ext cx="6096000" cy="480131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i="1" u="sng" dirty="0">
                <a:solidFill>
                  <a:srgbClr val="FF4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</a:t>
            </a:r>
            <a:endParaRPr lang="en-US" cap="all" dirty="0">
              <a:solidFill>
                <a:srgbClr val="22222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cap="all" dirty="0">
              <a:solidFill>
                <a:srgbClr val="22222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cap="all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rgent product develo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cap="all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Modeling and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i="0" cap="all" dirty="0"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xisting of real big data of customer behavior in Azerbaijan market</a:t>
            </a:r>
          </a:p>
          <a:p>
            <a:endParaRPr lang="en-US" cap="all" dirty="0">
              <a:solidFill>
                <a:srgbClr val="22222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b="1" i="1" u="sng" cap="all" dirty="0">
                <a:solidFill>
                  <a:srgbClr val="FF4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S</a:t>
            </a:r>
          </a:p>
          <a:p>
            <a:endParaRPr lang="en-US" cap="all" dirty="0">
              <a:solidFill>
                <a:srgbClr val="22222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u="sng" cap="all" dirty="0" err="1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TECH</a:t>
            </a:r>
            <a:endParaRPr lang="en-US" u="sng" cap="all" dirty="0">
              <a:solidFill>
                <a:srgbClr val="22222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cap="all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RO LOA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cap="all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ACTION COMPLE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cap="all" dirty="0">
              <a:solidFill>
                <a:srgbClr val="22222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u="sng" cap="all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cap="all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ALIDATION AND ENRICH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cap="all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Analytics as SERVICE</a:t>
            </a:r>
          </a:p>
          <a:p>
            <a:endParaRPr lang="en-US" i="1" cap="all" dirty="0">
              <a:solidFill>
                <a:srgbClr val="22222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Рисунок 23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CCB24C42-BC19-394D-A831-C55C9376CC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131" y="289679"/>
            <a:ext cx="2311400" cy="78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6551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U.3iKJMI3KyDO7pib8W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InRZQJqpW4BKzwOJST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ezO7oeomthFjJCWNv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SJB2bWAyd2PiwTtyro_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G7xrI5bRS0NWkIrE0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k3Ct9.SS9HXkj5eUdC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HT0NnxTMjP8wEeMC3K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NL4qhX_wMMMGOH.z0_f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irjvaPC0soDxWfzDyM2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yRtUHcAc8z6bONOFb1n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CzFAXCdNZoyCFmNbrs9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dGbQ_8lwrxvFF49lbBR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BTnX1cD8u4LR7kvGre7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irh15.R2ixXf4du68Ur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nqOv4KRd.1CqnJ.7RH4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cMGNZ5QPGj2ZuH5Pavj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6HaODuSPeTWy_VjE3.f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irh15.R2ixXf4du68Ur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nqOv4KRd.1CqnJ.7RH4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irh15.R2ixXf4du68Ur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wTYOxLSL.M_UN.G9dq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sUAymzT1qJ5npx0CHkD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JnEcxoSJSif_GjZrmP_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irh15.R2ixXf4du68Ur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CcCvV8RU.0AgSjQWsy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cKS1.PphCMfjKlKHVJ1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mVIQauLp.1.QYydq1hk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46g77wypC7zRjO.DHpj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ase Template 13.068x7.35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001NV_FFC.potx" id="{10F028A6-321B-49EB-AFC4-227E4004522C}" vid="{DE9A0255-892B-4859-A5B0-644AE448FCB4}"/>
    </a:ext>
  </a:extLst>
</a:theme>
</file>

<file path=ppt/theme/theme3.xml><?xml version="1.0" encoding="utf-8"?>
<a:theme xmlns:a="http://schemas.openxmlformats.org/drawingml/2006/main" name="1_EY widescreen presentation 2015 v1">
  <a:themeElements>
    <a:clrScheme name="Custom 2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EY wide screen.pptx" id="{3AE4910E-A5C7-4D98-AAD7-0895D129AEDB}" vid="{C22E0D04-1992-4698-AA08-3B3BD70718F9}"/>
    </a:ext>
  </a:extLst>
</a:theme>
</file>

<file path=ppt/theme/theme4.xml><?xml version="1.0" encoding="utf-8"?>
<a:theme xmlns:a="http://schemas.openxmlformats.org/drawingml/2006/main" name="Firm Format - template_Contrast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.potx" id="{13C89596-CA46-49FE-8759-AF466791A752}" vid="{129FEF66-2A94-41F7-B48D-E9EEFD99D971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464</TotalTime>
  <Words>352</Words>
  <Application>Microsoft Macintosh PowerPoint</Application>
  <PresentationFormat>Широкоэкранный</PresentationFormat>
  <Paragraphs>74</Paragraphs>
  <Slides>5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6" baseType="lpstr">
      <vt:lpstr>Arial</vt:lpstr>
      <vt:lpstr>Calibri</vt:lpstr>
      <vt:lpstr>Calibri Light</vt:lpstr>
      <vt:lpstr>EYInterstate</vt:lpstr>
      <vt:lpstr>EYInterstate Light</vt:lpstr>
      <vt:lpstr>Theinhardt Pan Light</vt:lpstr>
      <vt:lpstr>Office Theme</vt:lpstr>
      <vt:lpstr>Base Template 13.068x7.35</vt:lpstr>
      <vt:lpstr>1_EY widescreen presentation 2015 v1</vt:lpstr>
      <vt:lpstr>Firm Format - template_Contrast</vt:lpstr>
      <vt:lpstr>think-cell Slide</vt:lpstr>
      <vt:lpstr>Telecom</vt:lpstr>
      <vt:lpstr>Context  </vt:lpstr>
      <vt:lpstr>Problems on todays the periphery is our problem tomorrow</vt:lpstr>
      <vt:lpstr>Opportunity Bank and Telecoms should be as one to surge</vt:lpstr>
      <vt:lpstr>Simbrell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vda Z. Aliyeva</dc:creator>
  <cp:lastModifiedBy>Anar Jafarzade</cp:lastModifiedBy>
  <cp:revision>409</cp:revision>
  <dcterms:created xsi:type="dcterms:W3CDTF">2020-07-08T11:40:48Z</dcterms:created>
  <dcterms:modified xsi:type="dcterms:W3CDTF">2020-12-01T05:38:35Z</dcterms:modified>
</cp:coreProperties>
</file>